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7.xml" ContentType="application/vnd.openxmlformats-officedocument.presentationml.tags+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6"/>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592" r:id="rId20"/>
    <p:sldId id="2147470574" r:id="rId21"/>
    <p:sldId id="2147470591" r:id="rId22"/>
    <p:sldId id="2147470575" r:id="rId23"/>
    <p:sldId id="2147470594" r:id="rId24"/>
    <p:sldId id="2147470596" r:id="rId25"/>
    <p:sldId id="2147470597" r:id="rId26"/>
    <p:sldId id="2147470598" r:id="rId27"/>
    <p:sldId id="2147470626" r:id="rId28"/>
    <p:sldId id="2147470595" r:id="rId29"/>
    <p:sldId id="2147470600" r:id="rId30"/>
    <p:sldId id="2147470599" r:id="rId31"/>
    <p:sldId id="2147470601" r:id="rId32"/>
    <p:sldId id="2147470576" r:id="rId33"/>
    <p:sldId id="2147470602" r:id="rId34"/>
    <p:sldId id="2147470579" r:id="rId35"/>
    <p:sldId id="2147470580" r:id="rId36"/>
    <p:sldId id="2147470577" r:id="rId37"/>
    <p:sldId id="2147470560" r:id="rId38"/>
    <p:sldId id="2147470603" r:id="rId39"/>
    <p:sldId id="2147470571" r:id="rId40"/>
    <p:sldId id="2147470604" r:id="rId41"/>
    <p:sldId id="2147470607" r:id="rId42"/>
    <p:sldId id="2147470608" r:id="rId43"/>
    <p:sldId id="2147470609" r:id="rId44"/>
    <p:sldId id="2147470613" r:id="rId45"/>
    <p:sldId id="2147470614" r:id="rId46"/>
    <p:sldId id="2147470611" r:id="rId47"/>
    <p:sldId id="2147470619" r:id="rId48"/>
    <p:sldId id="2147470620" r:id="rId49"/>
    <p:sldId id="2147470610" r:id="rId50"/>
    <p:sldId id="2147470621" r:id="rId51"/>
    <p:sldId id="2147470622" r:id="rId52"/>
    <p:sldId id="2147470623" r:id="rId53"/>
    <p:sldId id="2147470624" r:id="rId54"/>
    <p:sldId id="2147470625"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F84794-9EA4-434B-B44E-34CC5A595DFB}" v="147" dt="2023-11-13T15:54:43.4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5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3561b13b-c7da-4a5b-9614-8a4db83ccfee" providerId="ADAL" clId="{F86C50F5-7C37-4B87-81B9-B2F74CBC3A4C}"/>
    <pc:docChg chg="delSld modSld sldOrd">
      <pc:chgData name="Dwayne Natwick" userId="3561b13b-c7da-4a5b-9614-8a4db83ccfee" providerId="ADAL" clId="{F86C50F5-7C37-4B87-81B9-B2F74CBC3A4C}" dt="2023-09-18T16:17:58.207" v="48" actId="47"/>
      <pc:docMkLst>
        <pc:docMk/>
      </pc:docMkLst>
      <pc:sldChg chg="del">
        <pc:chgData name="Dwayne Natwick" userId="3561b13b-c7da-4a5b-9614-8a4db83ccfee" providerId="ADAL" clId="{F86C50F5-7C37-4B87-81B9-B2F74CBC3A4C}" dt="2023-09-18T16:17:47.424" v="45" actId="47"/>
        <pc:sldMkLst>
          <pc:docMk/>
          <pc:sldMk cId="1307574574" sldId="2147470566"/>
        </pc:sldMkLst>
      </pc:sldChg>
      <pc:sldChg chg="del">
        <pc:chgData name="Dwayne Natwick" userId="3561b13b-c7da-4a5b-9614-8a4db83ccfee" providerId="ADAL" clId="{F86C50F5-7C37-4B87-81B9-B2F74CBC3A4C}" dt="2023-09-18T16:17:38.531" v="44" actId="47"/>
        <pc:sldMkLst>
          <pc:docMk/>
          <pc:sldMk cId="1259147145" sldId="2147470572"/>
        </pc:sldMkLst>
      </pc:sldChg>
      <pc:sldChg chg="del ord">
        <pc:chgData name="Dwayne Natwick" userId="3561b13b-c7da-4a5b-9614-8a4db83ccfee" providerId="ADAL" clId="{F86C50F5-7C37-4B87-81B9-B2F74CBC3A4C}" dt="2023-09-18T16:17:58.207" v="48" actId="47"/>
        <pc:sldMkLst>
          <pc:docMk/>
          <pc:sldMk cId="3861986293" sldId="2147470583"/>
        </pc:sldMkLst>
      </pc:sldChg>
      <pc:sldChg chg="modSp mod">
        <pc:chgData name="Dwayne Natwick" userId="3561b13b-c7da-4a5b-9614-8a4db83ccfee" providerId="ADAL" clId="{F86C50F5-7C37-4B87-81B9-B2F74CBC3A4C}" dt="2023-09-18T16:15:24.377" v="0" actId="6549"/>
        <pc:sldMkLst>
          <pc:docMk/>
          <pc:sldMk cId="917890403" sldId="2147470600"/>
        </pc:sldMkLst>
        <pc:spChg chg="mod">
          <ac:chgData name="Dwayne Natwick" userId="3561b13b-c7da-4a5b-9614-8a4db83ccfee" providerId="ADAL" clId="{F86C50F5-7C37-4B87-81B9-B2F74CBC3A4C}" dt="2023-09-18T16:15:24.377" v="0" actId="6549"/>
          <ac:spMkLst>
            <pc:docMk/>
            <pc:sldMk cId="917890403" sldId="2147470600"/>
            <ac:spMk id="3" creationId="{DDB7FF23-C1F3-ECC1-8CF4-0F54F4733DD3}"/>
          </ac:spMkLst>
        </pc:spChg>
      </pc:sldChg>
      <pc:sldChg chg="modSp mod">
        <pc:chgData name="Dwayne Natwick" userId="3561b13b-c7da-4a5b-9614-8a4db83ccfee" providerId="ADAL" clId="{F86C50F5-7C37-4B87-81B9-B2F74CBC3A4C}" dt="2023-09-18T16:15:31.926" v="1" actId="6549"/>
        <pc:sldMkLst>
          <pc:docMk/>
          <pc:sldMk cId="2983617397" sldId="2147470601"/>
        </pc:sldMkLst>
        <pc:spChg chg="mod">
          <ac:chgData name="Dwayne Natwick" userId="3561b13b-c7da-4a5b-9614-8a4db83ccfee" providerId="ADAL" clId="{F86C50F5-7C37-4B87-81B9-B2F74CBC3A4C}" dt="2023-09-18T16:15:31.926" v="1" actId="6549"/>
          <ac:spMkLst>
            <pc:docMk/>
            <pc:sldMk cId="2983617397" sldId="2147470601"/>
            <ac:spMk id="3" creationId="{DDB7FF23-C1F3-ECC1-8CF4-0F54F4733DD3}"/>
          </ac:spMkLst>
        </pc:spChg>
      </pc:sldChg>
      <pc:sldChg chg="modSp mod">
        <pc:chgData name="Dwayne Natwick" userId="3561b13b-c7da-4a5b-9614-8a4db83ccfee" providerId="ADAL" clId="{F86C50F5-7C37-4B87-81B9-B2F74CBC3A4C}" dt="2023-09-18T16:15:39.680" v="2" actId="6549"/>
        <pc:sldMkLst>
          <pc:docMk/>
          <pc:sldMk cId="1171446039" sldId="2147470602"/>
        </pc:sldMkLst>
        <pc:spChg chg="mod">
          <ac:chgData name="Dwayne Natwick" userId="3561b13b-c7da-4a5b-9614-8a4db83ccfee" providerId="ADAL" clId="{F86C50F5-7C37-4B87-81B9-B2F74CBC3A4C}" dt="2023-09-18T16:15:39.680" v="2" actId="6549"/>
          <ac:spMkLst>
            <pc:docMk/>
            <pc:sldMk cId="1171446039" sldId="2147470602"/>
            <ac:spMk id="3" creationId="{85C97FA8-BE0A-E10E-33B0-9E19F185EBA4}"/>
          </ac:spMkLst>
        </pc:spChg>
      </pc:sldChg>
      <pc:sldChg chg="modSp mod ord">
        <pc:chgData name="Dwayne Natwick" userId="3561b13b-c7da-4a5b-9614-8a4db83ccfee" providerId="ADAL" clId="{F86C50F5-7C37-4B87-81B9-B2F74CBC3A4C}" dt="2023-09-18T16:16:03.704" v="6"/>
        <pc:sldMkLst>
          <pc:docMk/>
          <pc:sldMk cId="702810448" sldId="2147470603"/>
        </pc:sldMkLst>
        <pc:spChg chg="mod">
          <ac:chgData name="Dwayne Natwick" userId="3561b13b-c7da-4a5b-9614-8a4db83ccfee" providerId="ADAL" clId="{F86C50F5-7C37-4B87-81B9-B2F74CBC3A4C}" dt="2023-09-18T16:15:55.564" v="4" actId="20577"/>
          <ac:spMkLst>
            <pc:docMk/>
            <pc:sldMk cId="702810448" sldId="2147470603"/>
            <ac:spMk id="3" creationId="{6B58DB51-7D0F-F03B-7A4F-5721D8CDBA64}"/>
          </ac:spMkLst>
        </pc:spChg>
      </pc:sldChg>
      <pc:sldChg chg="del mod modShow">
        <pc:chgData name="Dwayne Natwick" userId="3561b13b-c7da-4a5b-9614-8a4db83ccfee" providerId="ADAL" clId="{F86C50F5-7C37-4B87-81B9-B2F74CBC3A4C}" dt="2023-09-18T16:16:44.171" v="9" actId="2696"/>
        <pc:sldMkLst>
          <pc:docMk/>
          <pc:sldMk cId="2524577050" sldId="2147470612"/>
        </pc:sldMkLst>
      </pc:sldChg>
      <pc:sldChg chg="del">
        <pc:chgData name="Dwayne Natwick" userId="3561b13b-c7da-4a5b-9614-8a4db83ccfee" providerId="ADAL" clId="{F86C50F5-7C37-4B87-81B9-B2F74CBC3A4C}" dt="2023-09-18T16:16:48.060" v="10" actId="47"/>
        <pc:sldMkLst>
          <pc:docMk/>
          <pc:sldMk cId="3933044535" sldId="2147470615"/>
        </pc:sldMkLst>
      </pc:sldChg>
      <pc:sldChg chg="del">
        <pc:chgData name="Dwayne Natwick" userId="3561b13b-c7da-4a5b-9614-8a4db83ccfee" providerId="ADAL" clId="{F86C50F5-7C37-4B87-81B9-B2F74CBC3A4C}" dt="2023-09-18T16:16:28.806" v="7" actId="2696"/>
        <pc:sldMkLst>
          <pc:docMk/>
          <pc:sldMk cId="3572404749" sldId="2147470618"/>
        </pc:sldMkLst>
      </pc:sldChg>
      <pc:sldChg chg="modSp mod">
        <pc:chgData name="Dwayne Natwick" userId="3561b13b-c7da-4a5b-9614-8a4db83ccfee" providerId="ADAL" clId="{F86C50F5-7C37-4B87-81B9-B2F74CBC3A4C}" dt="2023-09-18T16:17:10.415" v="43" actId="20577"/>
        <pc:sldMkLst>
          <pc:docMk/>
          <pc:sldMk cId="4211696148" sldId="2147470623"/>
        </pc:sldMkLst>
        <pc:spChg chg="mod">
          <ac:chgData name="Dwayne Natwick" userId="3561b13b-c7da-4a5b-9614-8a4db83ccfee" providerId="ADAL" clId="{F86C50F5-7C37-4B87-81B9-B2F74CBC3A4C}" dt="2023-09-18T16:17:00.606" v="16" actId="20577"/>
          <ac:spMkLst>
            <pc:docMk/>
            <pc:sldMk cId="4211696148" sldId="2147470623"/>
            <ac:spMk id="2" creationId="{BFA64A8C-98C4-0EC5-C359-C3F08F09CCD2}"/>
          </ac:spMkLst>
        </pc:spChg>
        <pc:spChg chg="mod">
          <ac:chgData name="Dwayne Natwick" userId="3561b13b-c7da-4a5b-9614-8a4db83ccfee" providerId="ADAL" clId="{F86C50F5-7C37-4B87-81B9-B2F74CBC3A4C}" dt="2023-09-18T16:17:10.415" v="43" actId="20577"/>
          <ac:spMkLst>
            <pc:docMk/>
            <pc:sldMk cId="4211696148" sldId="2147470623"/>
            <ac:spMk id="3" creationId="{8EBEE321-11FC-1E70-73C4-F9D3512763DC}"/>
          </ac:spMkLst>
        </pc:spChg>
      </pc:sldChg>
    </pc:docChg>
  </pc:docChgLst>
  <pc:docChgLst>
    <pc:chgData name="Dwayne Natwick" userId="3561b13b-c7da-4a5b-9614-8a4db83ccfee" providerId="ADAL" clId="{54F84794-9EA4-434B-B44E-34CC5A595DFB}"/>
    <pc:docChg chg="custSel addSld modSld">
      <pc:chgData name="Dwayne Natwick" userId="3561b13b-c7da-4a5b-9614-8a4db83ccfee" providerId="ADAL" clId="{54F84794-9EA4-434B-B44E-34CC5A595DFB}" dt="2023-11-13T15:56:44.975" v="489" actId="20577"/>
      <pc:docMkLst>
        <pc:docMk/>
      </pc:docMkLst>
      <pc:sldChg chg="modSp mod">
        <pc:chgData name="Dwayne Natwick" userId="3561b13b-c7da-4a5b-9614-8a4db83ccfee" providerId="ADAL" clId="{54F84794-9EA4-434B-B44E-34CC5A595DFB}" dt="2023-11-13T15:24:54.568" v="11" actId="20577"/>
        <pc:sldMkLst>
          <pc:docMk/>
          <pc:sldMk cId="19297968" sldId="2147470553"/>
        </pc:sldMkLst>
        <pc:spChg chg="mod">
          <ac:chgData name="Dwayne Natwick" userId="3561b13b-c7da-4a5b-9614-8a4db83ccfee" providerId="ADAL" clId="{54F84794-9EA4-434B-B44E-34CC5A595DFB}" dt="2023-11-13T15:24:54.568" v="11" actId="20577"/>
          <ac:spMkLst>
            <pc:docMk/>
            <pc:sldMk cId="19297968" sldId="2147470553"/>
            <ac:spMk id="2" creationId="{A1A8D485-FD33-2DA7-238E-EDF73027901B}"/>
          </ac:spMkLst>
        </pc:spChg>
      </pc:sldChg>
      <pc:sldChg chg="modSp mod">
        <pc:chgData name="Dwayne Natwick" userId="3561b13b-c7da-4a5b-9614-8a4db83ccfee" providerId="ADAL" clId="{54F84794-9EA4-434B-B44E-34CC5A595DFB}" dt="2023-11-13T15:25:58.015" v="65" actId="20577"/>
        <pc:sldMkLst>
          <pc:docMk/>
          <pc:sldMk cId="2945821040" sldId="2147470557"/>
        </pc:sldMkLst>
        <pc:spChg chg="mod">
          <ac:chgData name="Dwayne Natwick" userId="3561b13b-c7da-4a5b-9614-8a4db83ccfee" providerId="ADAL" clId="{54F84794-9EA4-434B-B44E-34CC5A595DFB}" dt="2023-11-13T15:25:39.355" v="27" actId="20577"/>
          <ac:spMkLst>
            <pc:docMk/>
            <pc:sldMk cId="2945821040" sldId="2147470557"/>
            <ac:spMk id="6" creationId="{34C8A714-55EC-40AC-B65A-1F994DEC5152}"/>
          </ac:spMkLst>
        </pc:spChg>
        <pc:spChg chg="mod">
          <ac:chgData name="Dwayne Natwick" userId="3561b13b-c7da-4a5b-9614-8a4db83ccfee" providerId="ADAL" clId="{54F84794-9EA4-434B-B44E-34CC5A595DFB}" dt="2023-11-13T15:25:46.162" v="37" actId="20577"/>
          <ac:spMkLst>
            <pc:docMk/>
            <pc:sldMk cId="2945821040" sldId="2147470557"/>
            <ac:spMk id="28" creationId="{C9EAB225-5AB7-686B-2B0B-5A0DA0699DAA}"/>
          </ac:spMkLst>
        </pc:spChg>
        <pc:spChg chg="mod">
          <ac:chgData name="Dwayne Natwick" userId="3561b13b-c7da-4a5b-9614-8a4db83ccfee" providerId="ADAL" clId="{54F84794-9EA4-434B-B44E-34CC5A595DFB}" dt="2023-11-13T15:25:53.542" v="55" actId="20577"/>
          <ac:spMkLst>
            <pc:docMk/>
            <pc:sldMk cId="2945821040" sldId="2147470557"/>
            <ac:spMk id="31" creationId="{396F3C3E-06A6-C7C0-E225-74DAE937B4B6}"/>
          </ac:spMkLst>
        </pc:spChg>
        <pc:spChg chg="mod">
          <ac:chgData name="Dwayne Natwick" userId="3561b13b-c7da-4a5b-9614-8a4db83ccfee" providerId="ADAL" clId="{54F84794-9EA4-434B-B44E-34CC5A595DFB}" dt="2023-11-13T15:25:58.015" v="65" actId="20577"/>
          <ac:spMkLst>
            <pc:docMk/>
            <pc:sldMk cId="2945821040" sldId="2147470557"/>
            <ac:spMk id="34" creationId="{A53BEA30-32DF-F647-94E1-F0D90C6E0D13}"/>
          </ac:spMkLst>
        </pc:spChg>
      </pc:sldChg>
      <pc:sldChg chg="modSp mod">
        <pc:chgData name="Dwayne Natwick" userId="3561b13b-c7da-4a5b-9614-8a4db83ccfee" providerId="ADAL" clId="{54F84794-9EA4-434B-B44E-34CC5A595DFB}" dt="2023-11-13T15:26:31.863" v="78" actId="6549"/>
        <pc:sldMkLst>
          <pc:docMk/>
          <pc:sldMk cId="3682517411" sldId="2147470559"/>
        </pc:sldMkLst>
        <pc:graphicFrameChg chg="modGraphic">
          <ac:chgData name="Dwayne Natwick" userId="3561b13b-c7da-4a5b-9614-8a4db83ccfee" providerId="ADAL" clId="{54F84794-9EA4-434B-B44E-34CC5A595DFB}" dt="2023-11-13T15:26:31.863" v="78" actId="6549"/>
          <ac:graphicFrameMkLst>
            <pc:docMk/>
            <pc:sldMk cId="3682517411" sldId="2147470559"/>
            <ac:graphicFrameMk id="8" creationId="{CC919F4A-A7D9-8DDD-DB16-BF7FF8DD9E3B}"/>
          </ac:graphicFrameMkLst>
        </pc:graphicFrameChg>
      </pc:sldChg>
      <pc:sldChg chg="modSp mod">
        <pc:chgData name="Dwayne Natwick" userId="3561b13b-c7da-4a5b-9614-8a4db83ccfee" providerId="ADAL" clId="{54F84794-9EA4-434B-B44E-34CC5A595DFB}" dt="2023-11-13T15:55:34.746" v="362" actId="6549"/>
        <pc:sldMkLst>
          <pc:docMk/>
          <pc:sldMk cId="4270848246" sldId="2147470560"/>
        </pc:sldMkLst>
        <pc:spChg chg="mod">
          <ac:chgData name="Dwayne Natwick" userId="3561b13b-c7da-4a5b-9614-8a4db83ccfee" providerId="ADAL" clId="{54F84794-9EA4-434B-B44E-34CC5A595DFB}" dt="2023-11-13T15:55:27.017" v="358" actId="6549"/>
          <ac:spMkLst>
            <pc:docMk/>
            <pc:sldMk cId="4270848246" sldId="2147470560"/>
            <ac:spMk id="18" creationId="{7D66421A-6C08-23BB-D770-A2A0FF91DD1C}"/>
          </ac:spMkLst>
        </pc:spChg>
        <pc:spChg chg="mod">
          <ac:chgData name="Dwayne Natwick" userId="3561b13b-c7da-4a5b-9614-8a4db83ccfee" providerId="ADAL" clId="{54F84794-9EA4-434B-B44E-34CC5A595DFB}" dt="2023-11-13T15:55:28.844" v="359" actId="6549"/>
          <ac:spMkLst>
            <pc:docMk/>
            <pc:sldMk cId="4270848246" sldId="2147470560"/>
            <ac:spMk id="21" creationId="{87ACA6E9-9681-99AA-65E6-65303BA5F10F}"/>
          </ac:spMkLst>
        </pc:spChg>
        <pc:spChg chg="mod">
          <ac:chgData name="Dwayne Natwick" userId="3561b13b-c7da-4a5b-9614-8a4db83ccfee" providerId="ADAL" clId="{54F84794-9EA4-434B-B44E-34CC5A595DFB}" dt="2023-11-13T15:55:31.033" v="360" actId="6549"/>
          <ac:spMkLst>
            <pc:docMk/>
            <pc:sldMk cId="4270848246" sldId="2147470560"/>
            <ac:spMk id="24" creationId="{86B4A3BC-B5A8-2BE0-1133-3BA9CB7EDFAB}"/>
          </ac:spMkLst>
        </pc:spChg>
        <pc:spChg chg="mod">
          <ac:chgData name="Dwayne Natwick" userId="3561b13b-c7da-4a5b-9614-8a4db83ccfee" providerId="ADAL" clId="{54F84794-9EA4-434B-B44E-34CC5A595DFB}" dt="2023-11-13T15:55:33.356" v="361" actId="6549"/>
          <ac:spMkLst>
            <pc:docMk/>
            <pc:sldMk cId="4270848246" sldId="2147470560"/>
            <ac:spMk id="27" creationId="{9ADD736A-323E-6575-0C10-C5BD32DE5235}"/>
          </ac:spMkLst>
        </pc:spChg>
        <pc:spChg chg="mod">
          <ac:chgData name="Dwayne Natwick" userId="3561b13b-c7da-4a5b-9614-8a4db83ccfee" providerId="ADAL" clId="{54F84794-9EA4-434B-B44E-34CC5A595DFB}" dt="2023-11-13T15:55:34.746" v="362" actId="6549"/>
          <ac:spMkLst>
            <pc:docMk/>
            <pc:sldMk cId="4270848246" sldId="2147470560"/>
            <ac:spMk id="30" creationId="{3DB7542E-ADDB-131A-48BF-8DE17592FCF3}"/>
          </ac:spMkLst>
        </pc:spChg>
      </pc:sldChg>
      <pc:sldChg chg="modSp mod">
        <pc:chgData name="Dwayne Natwick" userId="3561b13b-c7da-4a5b-9614-8a4db83ccfee" providerId="ADAL" clId="{54F84794-9EA4-434B-B44E-34CC5A595DFB}" dt="2023-11-13T15:27:00.046" v="96" actId="6549"/>
        <pc:sldMkLst>
          <pc:docMk/>
          <pc:sldMk cId="3644458694" sldId="2147470564"/>
        </pc:sldMkLst>
        <pc:spChg chg="mod">
          <ac:chgData name="Dwayne Natwick" userId="3561b13b-c7da-4a5b-9614-8a4db83ccfee" providerId="ADAL" clId="{54F84794-9EA4-434B-B44E-34CC5A595DFB}" dt="2023-11-13T15:26:53.529" v="93" actId="6549"/>
          <ac:spMkLst>
            <pc:docMk/>
            <pc:sldMk cId="3644458694" sldId="2147470564"/>
            <ac:spMk id="167" creationId="{D5F5558B-707E-639D-6D0D-A1F550396012}"/>
          </ac:spMkLst>
        </pc:spChg>
        <pc:spChg chg="mod">
          <ac:chgData name="Dwayne Natwick" userId="3561b13b-c7da-4a5b-9614-8a4db83ccfee" providerId="ADAL" clId="{54F84794-9EA4-434B-B44E-34CC5A595DFB}" dt="2023-11-13T15:26:49.509" v="91" actId="6549"/>
          <ac:spMkLst>
            <pc:docMk/>
            <pc:sldMk cId="3644458694" sldId="2147470564"/>
            <ac:spMk id="173" creationId="{C0632E7C-0241-61E1-D3F4-FCB185277595}"/>
          </ac:spMkLst>
        </pc:spChg>
        <pc:spChg chg="mod">
          <ac:chgData name="Dwayne Natwick" userId="3561b13b-c7da-4a5b-9614-8a4db83ccfee" providerId="ADAL" clId="{54F84794-9EA4-434B-B44E-34CC5A595DFB}" dt="2023-11-13T15:26:51.051" v="92" actId="6549"/>
          <ac:spMkLst>
            <pc:docMk/>
            <pc:sldMk cId="3644458694" sldId="2147470564"/>
            <ac:spMk id="181" creationId="{C01E1DF7-AFB3-BF3D-96A2-20CDD0FB59FE}"/>
          </ac:spMkLst>
        </pc:spChg>
        <pc:spChg chg="mod">
          <ac:chgData name="Dwayne Natwick" userId="3561b13b-c7da-4a5b-9614-8a4db83ccfee" providerId="ADAL" clId="{54F84794-9EA4-434B-B44E-34CC5A595DFB}" dt="2023-11-13T15:26:58.979" v="95" actId="6549"/>
          <ac:spMkLst>
            <pc:docMk/>
            <pc:sldMk cId="3644458694" sldId="2147470564"/>
            <ac:spMk id="185" creationId="{7CA9D89B-B694-6F39-9E6F-1CA0F13592F6}"/>
          </ac:spMkLst>
        </pc:spChg>
        <pc:spChg chg="mod">
          <ac:chgData name="Dwayne Natwick" userId="3561b13b-c7da-4a5b-9614-8a4db83ccfee" providerId="ADAL" clId="{54F84794-9EA4-434B-B44E-34CC5A595DFB}" dt="2023-11-13T15:27:00.046" v="96" actId="6549"/>
          <ac:spMkLst>
            <pc:docMk/>
            <pc:sldMk cId="3644458694" sldId="2147470564"/>
            <ac:spMk id="186" creationId="{2C77C621-8B24-9C01-BABF-AEA4AF1AAF56}"/>
          </ac:spMkLst>
        </pc:spChg>
        <pc:spChg chg="mod">
          <ac:chgData name="Dwayne Natwick" userId="3561b13b-c7da-4a5b-9614-8a4db83ccfee" providerId="ADAL" clId="{54F84794-9EA4-434B-B44E-34CC5A595DFB}" dt="2023-11-13T15:26:56.783" v="94" actId="6549"/>
          <ac:spMkLst>
            <pc:docMk/>
            <pc:sldMk cId="3644458694" sldId="2147470564"/>
            <ac:spMk id="190" creationId="{8C2E0BB3-B0A3-DD4D-435A-54DA558FC4BD}"/>
          </ac:spMkLst>
        </pc:spChg>
      </pc:sldChg>
      <pc:sldChg chg="modSp mod">
        <pc:chgData name="Dwayne Natwick" userId="3561b13b-c7da-4a5b-9614-8a4db83ccfee" providerId="ADAL" clId="{54F84794-9EA4-434B-B44E-34CC5A595DFB}" dt="2023-11-13T15:26:41.060" v="90" actId="20577"/>
        <pc:sldMkLst>
          <pc:docMk/>
          <pc:sldMk cId="2739312586" sldId="2147470565"/>
        </pc:sldMkLst>
        <pc:spChg chg="mod">
          <ac:chgData name="Dwayne Natwick" userId="3561b13b-c7da-4a5b-9614-8a4db83ccfee" providerId="ADAL" clId="{54F84794-9EA4-434B-B44E-34CC5A595DFB}" dt="2023-11-13T15:26:41.060" v="90" actId="20577"/>
          <ac:spMkLst>
            <pc:docMk/>
            <pc:sldMk cId="2739312586" sldId="2147470565"/>
            <ac:spMk id="4" creationId="{DAA5FD98-5292-2367-63BF-BB583BFC2A96}"/>
          </ac:spMkLst>
        </pc:spChg>
      </pc:sldChg>
      <pc:sldChg chg="modSp mod">
        <pc:chgData name="Dwayne Natwick" userId="3561b13b-c7da-4a5b-9614-8a4db83ccfee" providerId="ADAL" clId="{54F84794-9EA4-434B-B44E-34CC5A595DFB}" dt="2023-11-13T15:55:40.164" v="363" actId="6549"/>
        <pc:sldMkLst>
          <pc:docMk/>
          <pc:sldMk cId="2251723249" sldId="2147470571"/>
        </pc:sldMkLst>
        <pc:spChg chg="mod">
          <ac:chgData name="Dwayne Natwick" userId="3561b13b-c7da-4a5b-9614-8a4db83ccfee" providerId="ADAL" clId="{54F84794-9EA4-434B-B44E-34CC5A595DFB}" dt="2023-11-13T15:55:40.164" v="363" actId="6549"/>
          <ac:spMkLst>
            <pc:docMk/>
            <pc:sldMk cId="2251723249" sldId="2147470571"/>
            <ac:spMk id="4" creationId="{DAA5FD98-5292-2367-63BF-BB583BFC2A96}"/>
          </ac:spMkLst>
        </pc:spChg>
      </pc:sldChg>
      <pc:sldChg chg="modSp mod">
        <pc:chgData name="Dwayne Natwick" userId="3561b13b-c7da-4a5b-9614-8a4db83ccfee" providerId="ADAL" clId="{54F84794-9EA4-434B-B44E-34CC5A595DFB}" dt="2023-11-13T15:27:28.931" v="106" actId="20577"/>
        <pc:sldMkLst>
          <pc:docMk/>
          <pc:sldMk cId="948136224" sldId="2147470573"/>
        </pc:sldMkLst>
        <pc:spChg chg="mod">
          <ac:chgData name="Dwayne Natwick" userId="3561b13b-c7da-4a5b-9614-8a4db83ccfee" providerId="ADAL" clId="{54F84794-9EA4-434B-B44E-34CC5A595DFB}" dt="2023-11-13T15:27:18.958" v="97" actId="6549"/>
          <ac:spMkLst>
            <pc:docMk/>
            <pc:sldMk cId="948136224" sldId="2147470573"/>
            <ac:spMk id="2" creationId="{9818A146-7202-24EA-7B4D-99C422D5DB3F}"/>
          </ac:spMkLst>
        </pc:spChg>
        <pc:spChg chg="mod">
          <ac:chgData name="Dwayne Natwick" userId="3561b13b-c7da-4a5b-9614-8a4db83ccfee" providerId="ADAL" clId="{54F84794-9EA4-434B-B44E-34CC5A595DFB}" dt="2023-11-13T15:27:28.931" v="106" actId="20577"/>
          <ac:spMkLst>
            <pc:docMk/>
            <pc:sldMk cId="948136224" sldId="2147470573"/>
            <ac:spMk id="3" creationId="{8810F879-0D52-6206-A283-CE7E0B7E3C5D}"/>
          </ac:spMkLst>
        </pc:spChg>
      </pc:sldChg>
      <pc:sldChg chg="modSp mod">
        <pc:chgData name="Dwayne Natwick" userId="3561b13b-c7da-4a5b-9614-8a4db83ccfee" providerId="ADAL" clId="{54F84794-9EA4-434B-B44E-34CC5A595DFB}" dt="2023-11-13T15:30:33.683" v="126" actId="20577"/>
        <pc:sldMkLst>
          <pc:docMk/>
          <pc:sldMk cId="3649936595" sldId="2147470575"/>
        </pc:sldMkLst>
        <pc:spChg chg="mod">
          <ac:chgData name="Dwayne Natwick" userId="3561b13b-c7da-4a5b-9614-8a4db83ccfee" providerId="ADAL" clId="{54F84794-9EA4-434B-B44E-34CC5A595DFB}" dt="2023-11-13T15:30:33.683" v="126" actId="20577"/>
          <ac:spMkLst>
            <pc:docMk/>
            <pc:sldMk cId="3649936595" sldId="2147470575"/>
            <ac:spMk id="2" creationId="{8839F5C4-843E-DBAD-044B-1872C9832914}"/>
          </ac:spMkLst>
        </pc:spChg>
        <pc:spChg chg="mod">
          <ac:chgData name="Dwayne Natwick" userId="3561b13b-c7da-4a5b-9614-8a4db83ccfee" providerId="ADAL" clId="{54F84794-9EA4-434B-B44E-34CC5A595DFB}" dt="2023-11-13T15:30:12.360" v="116" actId="14100"/>
          <ac:spMkLst>
            <pc:docMk/>
            <pc:sldMk cId="3649936595" sldId="2147470575"/>
            <ac:spMk id="9" creationId="{7239C8F0-B9DF-87A5-21C6-7F2244DB4517}"/>
          </ac:spMkLst>
        </pc:spChg>
        <pc:picChg chg="mod">
          <ac:chgData name="Dwayne Natwick" userId="3561b13b-c7da-4a5b-9614-8a4db83ccfee" providerId="ADAL" clId="{54F84794-9EA4-434B-B44E-34CC5A595DFB}" dt="2023-11-13T15:30:07.566" v="115" actId="1076"/>
          <ac:picMkLst>
            <pc:docMk/>
            <pc:sldMk cId="3649936595" sldId="2147470575"/>
            <ac:picMk id="4" creationId="{5AF45389-AE37-8E5F-A9DE-5C05DCB87D6A}"/>
          </ac:picMkLst>
        </pc:picChg>
      </pc:sldChg>
      <pc:sldChg chg="modSp">
        <pc:chgData name="Dwayne Natwick" userId="3561b13b-c7da-4a5b-9614-8a4db83ccfee" providerId="ADAL" clId="{54F84794-9EA4-434B-B44E-34CC5A595DFB}" dt="2023-11-13T15:54:43.416" v="356" actId="20577"/>
        <pc:sldMkLst>
          <pc:docMk/>
          <pc:sldMk cId="511214272" sldId="2147470576"/>
        </pc:sldMkLst>
        <pc:graphicFrameChg chg="mod">
          <ac:chgData name="Dwayne Natwick" userId="3561b13b-c7da-4a5b-9614-8a4db83ccfee" providerId="ADAL" clId="{54F84794-9EA4-434B-B44E-34CC5A595DFB}" dt="2023-11-13T15:54:43.416" v="356" actId="20577"/>
          <ac:graphicFrameMkLst>
            <pc:docMk/>
            <pc:sldMk cId="511214272" sldId="2147470576"/>
            <ac:graphicFrameMk id="5" creationId="{0F261073-2BAD-D61A-DB99-49C156412A8F}"/>
          </ac:graphicFrameMkLst>
        </pc:graphicFrameChg>
      </pc:sldChg>
      <pc:sldChg chg="modSp mod">
        <pc:chgData name="Dwayne Natwick" userId="3561b13b-c7da-4a5b-9614-8a4db83ccfee" providerId="ADAL" clId="{54F84794-9EA4-434B-B44E-34CC5A595DFB}" dt="2023-11-13T15:55:18.735" v="357" actId="6549"/>
        <pc:sldMkLst>
          <pc:docMk/>
          <pc:sldMk cId="4196600117" sldId="2147470577"/>
        </pc:sldMkLst>
        <pc:spChg chg="mod">
          <ac:chgData name="Dwayne Natwick" userId="3561b13b-c7da-4a5b-9614-8a4db83ccfee" providerId="ADAL" clId="{54F84794-9EA4-434B-B44E-34CC5A595DFB}" dt="2023-11-13T15:55:18.735" v="357" actId="6549"/>
          <ac:spMkLst>
            <pc:docMk/>
            <pc:sldMk cId="4196600117" sldId="2147470577"/>
            <ac:spMk id="3" creationId="{6EC7CC27-14D6-DF5B-9E38-E7E4DDE94B23}"/>
          </ac:spMkLst>
        </pc:spChg>
      </pc:sldChg>
      <pc:sldChg chg="modSp">
        <pc:chgData name="Dwayne Natwick" userId="3561b13b-c7da-4a5b-9614-8a4db83ccfee" providerId="ADAL" clId="{54F84794-9EA4-434B-B44E-34CC5A595DFB}" dt="2023-11-13T15:32:53.698" v="206" actId="20577"/>
        <pc:sldMkLst>
          <pc:docMk/>
          <pc:sldMk cId="1437570267" sldId="2147470580"/>
        </pc:sldMkLst>
        <pc:graphicFrameChg chg="mod">
          <ac:chgData name="Dwayne Natwick" userId="3561b13b-c7da-4a5b-9614-8a4db83ccfee" providerId="ADAL" clId="{54F84794-9EA4-434B-B44E-34CC5A595DFB}" dt="2023-11-13T15:32:53.698" v="206" actId="20577"/>
          <ac:graphicFrameMkLst>
            <pc:docMk/>
            <pc:sldMk cId="1437570267" sldId="2147470580"/>
            <ac:graphicFrameMk id="7" creationId="{3A80CE1E-78CC-6677-9E1F-AD6A51F41468}"/>
          </ac:graphicFrameMkLst>
        </pc:graphicFrameChg>
      </pc:sldChg>
      <pc:sldChg chg="modSp mod">
        <pc:chgData name="Dwayne Natwick" userId="3561b13b-c7da-4a5b-9614-8a4db83ccfee" providerId="ADAL" clId="{54F84794-9EA4-434B-B44E-34CC5A595DFB}" dt="2023-11-13T15:27:51.802" v="107" actId="6549"/>
        <pc:sldMkLst>
          <pc:docMk/>
          <pc:sldMk cId="3650723693" sldId="2147470585"/>
        </pc:sldMkLst>
        <pc:spChg chg="mod">
          <ac:chgData name="Dwayne Natwick" userId="3561b13b-c7da-4a5b-9614-8a4db83ccfee" providerId="ADAL" clId="{54F84794-9EA4-434B-B44E-34CC5A595DFB}" dt="2023-11-13T15:27:51.802" v="107" actId="6549"/>
          <ac:spMkLst>
            <pc:docMk/>
            <pc:sldMk cId="3650723693" sldId="2147470585"/>
            <ac:spMk id="3" creationId="{8810F879-0D52-6206-A283-CE7E0B7E3C5D}"/>
          </ac:spMkLst>
        </pc:spChg>
      </pc:sldChg>
      <pc:sldChg chg="modSp mod">
        <pc:chgData name="Dwayne Natwick" userId="3561b13b-c7da-4a5b-9614-8a4db83ccfee" providerId="ADAL" clId="{54F84794-9EA4-434B-B44E-34CC5A595DFB}" dt="2023-11-13T15:28:28.087" v="108" actId="6549"/>
        <pc:sldMkLst>
          <pc:docMk/>
          <pc:sldMk cId="694622249" sldId="2147470586"/>
        </pc:sldMkLst>
        <pc:spChg chg="mod">
          <ac:chgData name="Dwayne Natwick" userId="3561b13b-c7da-4a5b-9614-8a4db83ccfee" providerId="ADAL" clId="{54F84794-9EA4-434B-B44E-34CC5A595DFB}" dt="2023-11-13T15:28:28.087" v="108" actId="6549"/>
          <ac:spMkLst>
            <pc:docMk/>
            <pc:sldMk cId="694622249" sldId="2147470586"/>
            <ac:spMk id="2" creationId="{4F03887C-60C2-A9BC-7D57-446E94505E95}"/>
          </ac:spMkLst>
        </pc:spChg>
      </pc:sldChg>
      <pc:sldChg chg="modSp mod">
        <pc:chgData name="Dwayne Natwick" userId="3561b13b-c7da-4a5b-9614-8a4db83ccfee" providerId="ADAL" clId="{54F84794-9EA4-434B-B44E-34CC5A595DFB}" dt="2023-11-13T15:29:23.140" v="112" actId="20577"/>
        <pc:sldMkLst>
          <pc:docMk/>
          <pc:sldMk cId="347590927" sldId="2147470587"/>
        </pc:sldMkLst>
        <pc:spChg chg="mod">
          <ac:chgData name="Dwayne Natwick" userId="3561b13b-c7da-4a5b-9614-8a4db83ccfee" providerId="ADAL" clId="{54F84794-9EA4-434B-B44E-34CC5A595DFB}" dt="2023-11-13T15:29:23.140" v="112" actId="20577"/>
          <ac:spMkLst>
            <pc:docMk/>
            <pc:sldMk cId="347590927" sldId="2147470587"/>
            <ac:spMk id="2" creationId="{49ED4149-7D80-DC24-D85C-E8F8E2138C6D}"/>
          </ac:spMkLst>
        </pc:spChg>
        <pc:graphicFrameChg chg="mod">
          <ac:chgData name="Dwayne Natwick" userId="3561b13b-c7da-4a5b-9614-8a4db83ccfee" providerId="ADAL" clId="{54F84794-9EA4-434B-B44E-34CC5A595DFB}" dt="2023-11-13T15:28:45.118" v="109" actId="20577"/>
          <ac:graphicFrameMkLst>
            <pc:docMk/>
            <pc:sldMk cId="347590927" sldId="2147470587"/>
            <ac:graphicFrameMk id="5" creationId="{F1C54563-A4E7-4C95-AE2A-C0580B3CA81E}"/>
          </ac:graphicFrameMkLst>
        </pc:graphicFrameChg>
      </pc:sldChg>
      <pc:sldChg chg="modSp">
        <pc:chgData name="Dwayne Natwick" userId="3561b13b-c7da-4a5b-9614-8a4db83ccfee" providerId="ADAL" clId="{54F84794-9EA4-434B-B44E-34CC5A595DFB}" dt="2023-11-13T15:52:32.144" v="354" actId="20577"/>
        <pc:sldMkLst>
          <pc:docMk/>
          <pc:sldMk cId="2214484181" sldId="2147470588"/>
        </pc:sldMkLst>
        <pc:graphicFrameChg chg="mod">
          <ac:chgData name="Dwayne Natwick" userId="3561b13b-c7da-4a5b-9614-8a4db83ccfee" providerId="ADAL" clId="{54F84794-9EA4-434B-B44E-34CC5A595DFB}" dt="2023-11-13T15:52:32.144" v="354" actId="20577"/>
          <ac:graphicFrameMkLst>
            <pc:docMk/>
            <pc:sldMk cId="2214484181" sldId="2147470588"/>
            <ac:graphicFrameMk id="5" creationId="{F0FC495E-D653-EBE3-078E-A8B68A55A8FA}"/>
          </ac:graphicFrameMkLst>
        </pc:graphicFrameChg>
      </pc:sldChg>
      <pc:sldChg chg="mod modShow">
        <pc:chgData name="Dwayne Natwick" userId="3561b13b-c7da-4a5b-9614-8a4db83ccfee" providerId="ADAL" clId="{54F84794-9EA4-434B-B44E-34CC5A595DFB}" dt="2023-11-13T15:29:45.121" v="113" actId="729"/>
        <pc:sldMkLst>
          <pc:docMk/>
          <pc:sldMk cId="1568180102" sldId="2147470591"/>
        </pc:sldMkLst>
      </pc:sldChg>
      <pc:sldChg chg="modSp">
        <pc:chgData name="Dwayne Natwick" userId="3561b13b-c7da-4a5b-9614-8a4db83ccfee" providerId="ADAL" clId="{54F84794-9EA4-434B-B44E-34CC5A595DFB}" dt="2023-11-13T15:31:45.747" v="176" actId="20577"/>
        <pc:sldMkLst>
          <pc:docMk/>
          <pc:sldMk cId="3381500547" sldId="2147470595"/>
        </pc:sldMkLst>
        <pc:graphicFrameChg chg="mod">
          <ac:chgData name="Dwayne Natwick" userId="3561b13b-c7da-4a5b-9614-8a4db83ccfee" providerId="ADAL" clId="{54F84794-9EA4-434B-B44E-34CC5A595DFB}" dt="2023-11-13T15:31:45.747" v="176" actId="20577"/>
          <ac:graphicFrameMkLst>
            <pc:docMk/>
            <pc:sldMk cId="3381500547" sldId="2147470595"/>
            <ac:graphicFrameMk id="11" creationId="{2183D4C5-A866-40A4-5694-A87F596A4052}"/>
          </ac:graphicFrameMkLst>
        </pc:graphicFrameChg>
      </pc:sldChg>
      <pc:sldChg chg="modSp mod">
        <pc:chgData name="Dwayne Natwick" userId="3561b13b-c7da-4a5b-9614-8a4db83ccfee" providerId="ADAL" clId="{54F84794-9EA4-434B-B44E-34CC5A595DFB}" dt="2023-11-13T15:31:02.142" v="129" actId="6549"/>
        <pc:sldMkLst>
          <pc:docMk/>
          <pc:sldMk cId="1103145275" sldId="2147470598"/>
        </pc:sldMkLst>
        <pc:spChg chg="mod">
          <ac:chgData name="Dwayne Natwick" userId="3561b13b-c7da-4a5b-9614-8a4db83ccfee" providerId="ADAL" clId="{54F84794-9EA4-434B-B44E-34CC5A595DFB}" dt="2023-11-13T15:30:58.464" v="128" actId="6549"/>
          <ac:spMkLst>
            <pc:docMk/>
            <pc:sldMk cId="1103145275" sldId="2147470598"/>
            <ac:spMk id="2" creationId="{C83B6E44-5BA6-5E05-4F62-06C1C1B4745F}"/>
          </ac:spMkLst>
        </pc:spChg>
        <pc:spChg chg="mod">
          <ac:chgData name="Dwayne Natwick" userId="3561b13b-c7da-4a5b-9614-8a4db83ccfee" providerId="ADAL" clId="{54F84794-9EA4-434B-B44E-34CC5A595DFB}" dt="2023-11-13T15:31:02.142" v="129" actId="6549"/>
          <ac:spMkLst>
            <pc:docMk/>
            <pc:sldMk cId="1103145275" sldId="2147470598"/>
            <ac:spMk id="3" creationId="{F8D78B17-9AC1-3773-F5A7-05FB325AB696}"/>
          </ac:spMkLst>
        </pc:spChg>
      </pc:sldChg>
      <pc:sldChg chg="modSp">
        <pc:chgData name="Dwayne Natwick" userId="3561b13b-c7da-4a5b-9614-8a4db83ccfee" providerId="ADAL" clId="{54F84794-9EA4-434B-B44E-34CC5A595DFB}" dt="2023-11-13T15:32:16.498" v="178" actId="20577"/>
        <pc:sldMkLst>
          <pc:docMk/>
          <pc:sldMk cId="2015539757" sldId="2147470599"/>
        </pc:sldMkLst>
        <pc:graphicFrameChg chg="mod">
          <ac:chgData name="Dwayne Natwick" userId="3561b13b-c7da-4a5b-9614-8a4db83ccfee" providerId="ADAL" clId="{54F84794-9EA4-434B-B44E-34CC5A595DFB}" dt="2023-11-13T15:32:16.498" v="178" actId="20577"/>
          <ac:graphicFrameMkLst>
            <pc:docMk/>
            <pc:sldMk cId="2015539757" sldId="2147470599"/>
            <ac:graphicFrameMk id="11" creationId="{6281DC71-4E38-C0BA-1574-1BD154A67139}"/>
          </ac:graphicFrameMkLst>
        </pc:graphicFrameChg>
      </pc:sldChg>
      <pc:sldChg chg="modSp mod">
        <pc:chgData name="Dwayne Natwick" userId="3561b13b-c7da-4a5b-9614-8a4db83ccfee" providerId="ADAL" clId="{54F84794-9EA4-434B-B44E-34CC5A595DFB}" dt="2023-11-13T15:56:44.975" v="489" actId="20577"/>
        <pc:sldMkLst>
          <pc:docMk/>
          <pc:sldMk cId="1720323407" sldId="2147470604"/>
        </pc:sldMkLst>
        <pc:spChg chg="mod">
          <ac:chgData name="Dwayne Natwick" userId="3561b13b-c7da-4a5b-9614-8a4db83ccfee" providerId="ADAL" clId="{54F84794-9EA4-434B-B44E-34CC5A595DFB}" dt="2023-11-13T15:55:47.970" v="365" actId="6549"/>
          <ac:spMkLst>
            <pc:docMk/>
            <pc:sldMk cId="1720323407" sldId="2147470604"/>
            <ac:spMk id="21" creationId="{68C8CFE1-65AB-E14A-D550-F9CC1A93CFC5}"/>
          </ac:spMkLst>
        </pc:spChg>
        <pc:spChg chg="mod">
          <ac:chgData name="Dwayne Natwick" userId="3561b13b-c7da-4a5b-9614-8a4db83ccfee" providerId="ADAL" clId="{54F84794-9EA4-434B-B44E-34CC5A595DFB}" dt="2023-11-13T15:56:08.835" v="396" actId="20577"/>
          <ac:spMkLst>
            <pc:docMk/>
            <pc:sldMk cId="1720323407" sldId="2147470604"/>
            <ac:spMk id="27" creationId="{2110CA23-E319-B299-E485-6F98BFAFC1EC}"/>
          </ac:spMkLst>
        </pc:spChg>
        <pc:spChg chg="mod">
          <ac:chgData name="Dwayne Natwick" userId="3561b13b-c7da-4a5b-9614-8a4db83ccfee" providerId="ADAL" clId="{54F84794-9EA4-434B-B44E-34CC5A595DFB}" dt="2023-11-13T15:56:44.975" v="489" actId="20577"/>
          <ac:spMkLst>
            <pc:docMk/>
            <pc:sldMk cId="1720323407" sldId="2147470604"/>
            <ac:spMk id="28" creationId="{0A250D4B-4C44-4636-CA86-49CB47665514}"/>
          </ac:spMkLst>
        </pc:spChg>
        <pc:spChg chg="mod">
          <ac:chgData name="Dwayne Natwick" userId="3561b13b-c7da-4a5b-9614-8a4db83ccfee" providerId="ADAL" clId="{54F84794-9EA4-434B-B44E-34CC5A595DFB}" dt="2023-11-13T15:55:54.514" v="369" actId="20577"/>
          <ac:spMkLst>
            <pc:docMk/>
            <pc:sldMk cId="1720323407" sldId="2147470604"/>
            <ac:spMk id="32" creationId="{93C8FB2B-8EDA-992B-5C01-296093DB1125}"/>
          </ac:spMkLst>
        </pc:spChg>
      </pc:sldChg>
      <pc:sldChg chg="modSp">
        <pc:chgData name="Dwayne Natwick" userId="3561b13b-c7da-4a5b-9614-8a4db83ccfee" providerId="ADAL" clId="{54F84794-9EA4-434B-B44E-34CC5A595DFB}" dt="2023-11-13T15:33:47.485" v="223" actId="20577"/>
        <pc:sldMkLst>
          <pc:docMk/>
          <pc:sldMk cId="379969417" sldId="2147470609"/>
        </pc:sldMkLst>
        <pc:graphicFrameChg chg="mod">
          <ac:chgData name="Dwayne Natwick" userId="3561b13b-c7da-4a5b-9614-8a4db83ccfee" providerId="ADAL" clId="{54F84794-9EA4-434B-B44E-34CC5A595DFB}" dt="2023-11-13T15:33:47.485" v="223" actId="20577"/>
          <ac:graphicFrameMkLst>
            <pc:docMk/>
            <pc:sldMk cId="379969417" sldId="2147470609"/>
            <ac:graphicFrameMk id="6" creationId="{8F951D51-311C-2EFC-35E8-15B871457F00}"/>
          </ac:graphicFrameMkLst>
        </pc:graphicFrameChg>
      </pc:sldChg>
      <pc:sldChg chg="modSp">
        <pc:chgData name="Dwayne Natwick" userId="3561b13b-c7da-4a5b-9614-8a4db83ccfee" providerId="ADAL" clId="{54F84794-9EA4-434B-B44E-34CC5A595DFB}" dt="2023-11-13T15:35:23.190" v="256" actId="20577"/>
        <pc:sldMkLst>
          <pc:docMk/>
          <pc:sldMk cId="2421521076" sldId="2147470611"/>
        </pc:sldMkLst>
        <pc:graphicFrameChg chg="mod">
          <ac:chgData name="Dwayne Natwick" userId="3561b13b-c7da-4a5b-9614-8a4db83ccfee" providerId="ADAL" clId="{54F84794-9EA4-434B-B44E-34CC5A595DFB}" dt="2023-11-13T15:35:23.190" v="256" actId="20577"/>
          <ac:graphicFrameMkLst>
            <pc:docMk/>
            <pc:sldMk cId="2421521076" sldId="2147470611"/>
            <ac:graphicFrameMk id="5" creationId="{A5BBB90B-5CC9-A280-14DC-2C91D4F347EE}"/>
          </ac:graphicFrameMkLst>
        </pc:graphicFrameChg>
      </pc:sldChg>
      <pc:sldChg chg="modSp mod">
        <pc:chgData name="Dwayne Natwick" userId="3561b13b-c7da-4a5b-9614-8a4db83ccfee" providerId="ADAL" clId="{54F84794-9EA4-434B-B44E-34CC5A595DFB}" dt="2023-11-13T15:36:51.119" v="311" actId="20577"/>
        <pc:sldMkLst>
          <pc:docMk/>
          <pc:sldMk cId="3770102974" sldId="2147470620"/>
        </pc:sldMkLst>
        <pc:spChg chg="mod">
          <ac:chgData name="Dwayne Natwick" userId="3561b13b-c7da-4a5b-9614-8a4db83ccfee" providerId="ADAL" clId="{54F84794-9EA4-434B-B44E-34CC5A595DFB}" dt="2023-11-13T15:36:20.297" v="293" actId="20577"/>
          <ac:spMkLst>
            <pc:docMk/>
            <pc:sldMk cId="3770102974" sldId="2147470620"/>
            <ac:spMk id="2" creationId="{CFCF5E71-8482-5C4A-1937-62180CED69B1}"/>
          </ac:spMkLst>
        </pc:spChg>
        <pc:graphicFrameChg chg="mod">
          <ac:chgData name="Dwayne Natwick" userId="3561b13b-c7da-4a5b-9614-8a4db83ccfee" providerId="ADAL" clId="{54F84794-9EA4-434B-B44E-34CC5A595DFB}" dt="2023-11-13T15:36:51.119" v="311" actId="20577"/>
          <ac:graphicFrameMkLst>
            <pc:docMk/>
            <pc:sldMk cId="3770102974" sldId="2147470620"/>
            <ac:graphicFrameMk id="7" creationId="{A219546F-E536-A279-B526-1AE693C0FEBC}"/>
          </ac:graphicFrameMkLst>
        </pc:graphicFrameChg>
      </pc:sldChg>
      <pc:sldChg chg="modSp mod">
        <pc:chgData name="Dwayne Natwick" userId="3561b13b-c7da-4a5b-9614-8a4db83ccfee" providerId="ADAL" clId="{54F84794-9EA4-434B-B44E-34CC5A595DFB}" dt="2023-11-13T15:37:52.237" v="353" actId="20577"/>
        <pc:sldMkLst>
          <pc:docMk/>
          <pc:sldMk cId="1675599562" sldId="2147470622"/>
        </pc:sldMkLst>
        <pc:spChg chg="mod">
          <ac:chgData name="Dwayne Natwick" userId="3561b13b-c7da-4a5b-9614-8a4db83ccfee" providerId="ADAL" clId="{54F84794-9EA4-434B-B44E-34CC5A595DFB}" dt="2023-11-13T15:37:52.237" v="353" actId="20577"/>
          <ac:spMkLst>
            <pc:docMk/>
            <pc:sldMk cId="1675599562" sldId="2147470622"/>
            <ac:spMk id="3" creationId="{226A9B3B-731B-E601-049B-025098728B19}"/>
          </ac:spMkLst>
        </pc:spChg>
      </pc:sldChg>
      <pc:sldChg chg="modSp add mod">
        <pc:chgData name="Dwayne Natwick" userId="3561b13b-c7da-4a5b-9614-8a4db83ccfee" providerId="ADAL" clId="{54F84794-9EA4-434B-B44E-34CC5A595DFB}" dt="2023-11-13T15:31:08.842" v="131" actId="6549"/>
        <pc:sldMkLst>
          <pc:docMk/>
          <pc:sldMk cId="4194513998" sldId="2147470626"/>
        </pc:sldMkLst>
        <pc:spChg chg="mod">
          <ac:chgData name="Dwayne Natwick" userId="3561b13b-c7da-4a5b-9614-8a4db83ccfee" providerId="ADAL" clId="{54F84794-9EA4-434B-B44E-34CC5A595DFB}" dt="2023-11-13T15:31:08.842" v="131" actId="6549"/>
          <ac:spMkLst>
            <pc:docMk/>
            <pc:sldMk cId="4194513998" sldId="2147470626"/>
            <ac:spMk id="2" creationId="{C83B6E44-5BA6-5E05-4F62-06C1C1B4745F}"/>
          </ac:spMkLst>
        </pc:spChg>
        <pc:spChg chg="mod">
          <ac:chgData name="Dwayne Natwick" userId="3561b13b-c7da-4a5b-9614-8a4db83ccfee" providerId="ADAL" clId="{54F84794-9EA4-434B-B44E-34CC5A595DFB}" dt="2023-11-13T15:31:06.629" v="130" actId="6549"/>
          <ac:spMkLst>
            <pc:docMk/>
            <pc:sldMk cId="4194513998" sldId="2147470626"/>
            <ac:spMk id="3" creationId="{F8D78B17-9AC1-3773-F5A7-05FB325AB696}"/>
          </ac:spMkLst>
        </pc:spChg>
      </pc:sldChg>
    </pc:docChg>
  </pc:docChgLst>
  <pc:docChgLst>
    <pc:chgData name="Dwayne Natwick" userId="d11f0013982d5c78" providerId="LiveId" clId="{7C12B80F-4F5C-4C3B-86BC-48E3B79C03DA}"/>
    <pc:docChg chg="custSel addSld delSld modSld">
      <pc:chgData name="Dwayne Natwick" userId="d11f0013982d5c78" providerId="LiveId" clId="{7C12B80F-4F5C-4C3B-86BC-48E3B79C03DA}" dt="2023-09-15T12:30:56.786" v="14" actId="20577"/>
      <pc:docMkLst>
        <pc:docMk/>
      </pc:docMkLst>
      <pc:sldChg chg="del">
        <pc:chgData name="Dwayne Natwick" userId="d11f0013982d5c78" providerId="LiveId" clId="{7C12B80F-4F5C-4C3B-86BC-48E3B79C03DA}" dt="2023-09-15T12:30:23.826" v="1" actId="47"/>
        <pc:sldMkLst>
          <pc:docMk/>
          <pc:sldMk cId="3164376787" sldId="2076137029"/>
        </pc:sldMkLst>
      </pc:sldChg>
      <pc:sldChg chg="del">
        <pc:chgData name="Dwayne Natwick" userId="d11f0013982d5c78" providerId="LiveId" clId="{7C12B80F-4F5C-4C3B-86BC-48E3B79C03DA}" dt="2023-09-15T12:30:23.826" v="1" actId="47"/>
        <pc:sldMkLst>
          <pc:docMk/>
          <pc:sldMk cId="2024722602" sldId="2145705724"/>
        </pc:sldMkLst>
      </pc:sldChg>
      <pc:sldChg chg="del">
        <pc:chgData name="Dwayne Natwick" userId="d11f0013982d5c78" providerId="LiveId" clId="{7C12B80F-4F5C-4C3B-86BC-48E3B79C03DA}" dt="2023-09-15T12:30:23.826" v="1" actId="47"/>
        <pc:sldMkLst>
          <pc:docMk/>
          <pc:sldMk cId="682611613" sldId="2147470555"/>
        </pc:sldMkLst>
      </pc:sldChg>
      <pc:sldChg chg="add">
        <pc:chgData name="Dwayne Natwick" userId="d11f0013982d5c78" providerId="LiveId" clId="{7C12B80F-4F5C-4C3B-86BC-48E3B79C03DA}" dt="2023-09-15T12:30:02.174" v="0"/>
        <pc:sldMkLst>
          <pc:docMk/>
          <pc:sldMk cId="1720323407" sldId="2147470604"/>
        </pc:sldMkLst>
      </pc:sldChg>
      <pc:sldChg chg="add">
        <pc:chgData name="Dwayne Natwick" userId="d11f0013982d5c78" providerId="LiveId" clId="{7C12B80F-4F5C-4C3B-86BC-48E3B79C03DA}" dt="2023-09-15T12:30:02.174" v="0"/>
        <pc:sldMkLst>
          <pc:docMk/>
          <pc:sldMk cId="2839524364" sldId="2147470607"/>
        </pc:sldMkLst>
      </pc:sldChg>
      <pc:sldChg chg="add">
        <pc:chgData name="Dwayne Natwick" userId="d11f0013982d5c78" providerId="LiveId" clId="{7C12B80F-4F5C-4C3B-86BC-48E3B79C03DA}" dt="2023-09-15T12:30:02.174" v="0"/>
        <pc:sldMkLst>
          <pc:docMk/>
          <pc:sldMk cId="4086260143" sldId="2147470608"/>
        </pc:sldMkLst>
      </pc:sldChg>
      <pc:sldChg chg="add">
        <pc:chgData name="Dwayne Natwick" userId="d11f0013982d5c78" providerId="LiveId" clId="{7C12B80F-4F5C-4C3B-86BC-48E3B79C03DA}" dt="2023-09-15T12:30:02.174" v="0"/>
        <pc:sldMkLst>
          <pc:docMk/>
          <pc:sldMk cId="379969417" sldId="2147470609"/>
        </pc:sldMkLst>
      </pc:sldChg>
      <pc:sldChg chg="add">
        <pc:chgData name="Dwayne Natwick" userId="d11f0013982d5c78" providerId="LiveId" clId="{7C12B80F-4F5C-4C3B-86BC-48E3B79C03DA}" dt="2023-09-15T12:30:02.174" v="0"/>
        <pc:sldMkLst>
          <pc:docMk/>
          <pc:sldMk cId="1929971971" sldId="2147470610"/>
        </pc:sldMkLst>
      </pc:sldChg>
      <pc:sldChg chg="add">
        <pc:chgData name="Dwayne Natwick" userId="d11f0013982d5c78" providerId="LiveId" clId="{7C12B80F-4F5C-4C3B-86BC-48E3B79C03DA}" dt="2023-09-15T12:30:02.174" v="0"/>
        <pc:sldMkLst>
          <pc:docMk/>
          <pc:sldMk cId="2421521076" sldId="2147470611"/>
        </pc:sldMkLst>
      </pc:sldChg>
      <pc:sldChg chg="add">
        <pc:chgData name="Dwayne Natwick" userId="d11f0013982d5c78" providerId="LiveId" clId="{7C12B80F-4F5C-4C3B-86BC-48E3B79C03DA}" dt="2023-09-15T12:30:02.174" v="0"/>
        <pc:sldMkLst>
          <pc:docMk/>
          <pc:sldMk cId="2524577050" sldId="2147470612"/>
        </pc:sldMkLst>
      </pc:sldChg>
      <pc:sldChg chg="add">
        <pc:chgData name="Dwayne Natwick" userId="d11f0013982d5c78" providerId="LiveId" clId="{7C12B80F-4F5C-4C3B-86BC-48E3B79C03DA}" dt="2023-09-15T12:30:02.174" v="0"/>
        <pc:sldMkLst>
          <pc:docMk/>
          <pc:sldMk cId="848203549" sldId="2147470613"/>
        </pc:sldMkLst>
      </pc:sldChg>
      <pc:sldChg chg="add">
        <pc:chgData name="Dwayne Natwick" userId="d11f0013982d5c78" providerId="LiveId" clId="{7C12B80F-4F5C-4C3B-86BC-48E3B79C03DA}" dt="2023-09-15T12:30:02.174" v="0"/>
        <pc:sldMkLst>
          <pc:docMk/>
          <pc:sldMk cId="572556567" sldId="2147470614"/>
        </pc:sldMkLst>
      </pc:sldChg>
      <pc:sldChg chg="add">
        <pc:chgData name="Dwayne Natwick" userId="d11f0013982d5c78" providerId="LiveId" clId="{7C12B80F-4F5C-4C3B-86BC-48E3B79C03DA}" dt="2023-09-15T12:30:02.174" v="0"/>
        <pc:sldMkLst>
          <pc:docMk/>
          <pc:sldMk cId="3933044535" sldId="2147470615"/>
        </pc:sldMkLst>
      </pc:sldChg>
      <pc:sldChg chg="add">
        <pc:chgData name="Dwayne Natwick" userId="d11f0013982d5c78" providerId="LiveId" clId="{7C12B80F-4F5C-4C3B-86BC-48E3B79C03DA}" dt="2023-09-15T12:30:02.174" v="0"/>
        <pc:sldMkLst>
          <pc:docMk/>
          <pc:sldMk cId="3572404749" sldId="2147470618"/>
        </pc:sldMkLst>
      </pc:sldChg>
      <pc:sldChg chg="add">
        <pc:chgData name="Dwayne Natwick" userId="d11f0013982d5c78" providerId="LiveId" clId="{7C12B80F-4F5C-4C3B-86BC-48E3B79C03DA}" dt="2023-09-15T12:30:02.174" v="0"/>
        <pc:sldMkLst>
          <pc:docMk/>
          <pc:sldMk cId="2409884957" sldId="2147470619"/>
        </pc:sldMkLst>
      </pc:sldChg>
      <pc:sldChg chg="add">
        <pc:chgData name="Dwayne Natwick" userId="d11f0013982d5c78" providerId="LiveId" clId="{7C12B80F-4F5C-4C3B-86BC-48E3B79C03DA}" dt="2023-09-15T12:30:02.174" v="0"/>
        <pc:sldMkLst>
          <pc:docMk/>
          <pc:sldMk cId="3770102974" sldId="2147470620"/>
        </pc:sldMkLst>
      </pc:sldChg>
      <pc:sldChg chg="add">
        <pc:chgData name="Dwayne Natwick" userId="d11f0013982d5c78" providerId="LiveId" clId="{7C12B80F-4F5C-4C3B-86BC-48E3B79C03DA}" dt="2023-09-15T12:30:02.174" v="0"/>
        <pc:sldMkLst>
          <pc:docMk/>
          <pc:sldMk cId="3776730813" sldId="2147470621"/>
        </pc:sldMkLst>
      </pc:sldChg>
      <pc:sldChg chg="add">
        <pc:chgData name="Dwayne Natwick" userId="d11f0013982d5c78" providerId="LiveId" clId="{7C12B80F-4F5C-4C3B-86BC-48E3B79C03DA}" dt="2023-09-15T12:30:02.174" v="0"/>
        <pc:sldMkLst>
          <pc:docMk/>
          <pc:sldMk cId="1675599562" sldId="2147470622"/>
        </pc:sldMkLst>
      </pc:sldChg>
      <pc:sldChg chg="add">
        <pc:chgData name="Dwayne Natwick" userId="d11f0013982d5c78" providerId="LiveId" clId="{7C12B80F-4F5C-4C3B-86BC-48E3B79C03DA}" dt="2023-09-15T12:30:02.174" v="0"/>
        <pc:sldMkLst>
          <pc:docMk/>
          <pc:sldMk cId="4211696148" sldId="2147470623"/>
        </pc:sldMkLst>
      </pc:sldChg>
      <pc:sldChg chg="add">
        <pc:chgData name="Dwayne Natwick" userId="d11f0013982d5c78" providerId="LiveId" clId="{7C12B80F-4F5C-4C3B-86BC-48E3B79C03DA}" dt="2023-09-15T12:30:02.174" v="0"/>
        <pc:sldMkLst>
          <pc:docMk/>
          <pc:sldMk cId="3526514887" sldId="2147470624"/>
        </pc:sldMkLst>
      </pc:sldChg>
      <pc:sldChg chg="addSp delSp modSp new mod chgLayout">
        <pc:chgData name="Dwayne Natwick" userId="d11f0013982d5c78" providerId="LiveId" clId="{7C12B80F-4F5C-4C3B-86BC-48E3B79C03DA}" dt="2023-09-15T12:30:56.786" v="14" actId="20577"/>
        <pc:sldMkLst>
          <pc:docMk/>
          <pc:sldMk cId="792240508" sldId="2147470625"/>
        </pc:sldMkLst>
        <pc:spChg chg="del">
          <ac:chgData name="Dwayne Natwick" userId="d11f0013982d5c78" providerId="LiveId" clId="{7C12B80F-4F5C-4C3B-86BC-48E3B79C03DA}" dt="2023-09-15T12:30:41.369" v="3" actId="700"/>
          <ac:spMkLst>
            <pc:docMk/>
            <pc:sldMk cId="792240508" sldId="2147470625"/>
            <ac:spMk id="2" creationId="{A387FD00-9C50-48F3-B9C1-1E1D81C0773F}"/>
          </ac:spMkLst>
        </pc:spChg>
        <pc:spChg chg="add del mod ord">
          <ac:chgData name="Dwayne Natwick" userId="d11f0013982d5c78" providerId="LiveId" clId="{7C12B80F-4F5C-4C3B-86BC-48E3B79C03DA}" dt="2023-09-15T12:30:49.016" v="4" actId="700"/>
          <ac:spMkLst>
            <pc:docMk/>
            <pc:sldMk cId="792240508" sldId="2147470625"/>
            <ac:spMk id="3" creationId="{BEDF4C71-A471-4AB3-BBD3-2A94340FF41B}"/>
          </ac:spMkLst>
        </pc:spChg>
        <pc:spChg chg="add mod ord">
          <ac:chgData name="Dwayne Natwick" userId="d11f0013982d5c78" providerId="LiveId" clId="{7C12B80F-4F5C-4C3B-86BC-48E3B79C03DA}" dt="2023-09-15T12:30:56.786" v="14" actId="20577"/>
          <ac:spMkLst>
            <pc:docMk/>
            <pc:sldMk cId="792240508" sldId="2147470625"/>
            <ac:spMk id="4" creationId="{49D9F342-393A-4EEC-ACDC-769401575698}"/>
          </ac:spMkLst>
        </pc:spChg>
        <pc:spChg chg="add mod ord">
          <ac:chgData name="Dwayne Natwick" userId="d11f0013982d5c78" providerId="LiveId" clId="{7C12B80F-4F5C-4C3B-86BC-48E3B79C03DA}" dt="2023-09-15T12:30:49.016" v="4" actId="700"/>
          <ac:spMkLst>
            <pc:docMk/>
            <pc:sldMk cId="792240508" sldId="2147470625"/>
            <ac:spMk id="5" creationId="{023E8919-57F9-43F7-9C69-EDABB71D9508}"/>
          </ac:spMkLst>
        </pc:spChg>
      </pc:sldChg>
    </pc:docChg>
  </pc:docChgLst>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0776C629-8D4C-43A4-976C-2EA887EB93F6}"/>
    <pc:docChg chg="addSld delSld modSld">
      <pc:chgData name="Dwayne Natwick" userId="d11f0013982d5c78" providerId="Windows Live" clId="Web-{0776C629-8D4C-43A4-976C-2EA887EB93F6}" dt="2023-09-14T16:11:52.046" v="357"/>
      <pc:docMkLst>
        <pc:docMk/>
      </pc:docMkLst>
      <pc:sldChg chg="modSp">
        <pc:chgData name="Dwayne Natwick" userId="d11f0013982d5c78" providerId="Windows Live" clId="Web-{0776C629-8D4C-43A4-976C-2EA887EB93F6}" dt="2023-09-14T16:01:37.934" v="49" actId="20577"/>
        <pc:sldMkLst>
          <pc:docMk/>
          <pc:sldMk cId="1550946110" sldId="2147470558"/>
        </pc:sldMkLst>
        <pc:spChg chg="mod">
          <ac:chgData name="Dwayne Natwick" userId="d11f0013982d5c78" providerId="Windows Live" clId="Web-{0776C629-8D4C-43A4-976C-2EA887EB93F6}" dt="2023-09-14T16:01:37.934" v="49" actId="20577"/>
          <ac:spMkLst>
            <pc:docMk/>
            <pc:sldMk cId="1550946110" sldId="2147470558"/>
            <ac:spMk id="7" creationId="{BAEABFA2-6886-4059-8BDC-CEA47006EF42}"/>
          </ac:spMkLst>
        </pc:spChg>
        <pc:spChg chg="mod">
          <ac:chgData name="Dwayne Natwick" userId="d11f0013982d5c78" providerId="Windows Live" clId="Web-{0776C629-8D4C-43A4-976C-2EA887EB93F6}" dt="2023-09-14T16:01:35.356" v="48" actId="20577"/>
          <ac:spMkLst>
            <pc:docMk/>
            <pc:sldMk cId="1550946110" sldId="2147470558"/>
            <ac:spMk id="9" creationId="{DEC298B1-8CEC-496A-A434-6778D0312A8B}"/>
          </ac:spMkLst>
        </pc:spChg>
      </pc:sldChg>
      <pc:sldChg chg="delSp modSp">
        <pc:chgData name="Dwayne Natwick" userId="d11f0013982d5c78" providerId="Windows Live" clId="Web-{0776C629-8D4C-43A4-976C-2EA887EB93F6}" dt="2023-09-14T16:11:52.046" v="357"/>
        <pc:sldMkLst>
          <pc:docMk/>
          <pc:sldMk cId="3682517411" sldId="2147470559"/>
        </pc:sldMkLst>
        <pc:graphicFrameChg chg="mod modGraphic">
          <ac:chgData name="Dwayne Natwick" userId="d11f0013982d5c78" providerId="Windows Live" clId="Web-{0776C629-8D4C-43A4-976C-2EA887EB93F6}" dt="2023-09-14T16:11:52.046" v="357"/>
          <ac:graphicFrameMkLst>
            <pc:docMk/>
            <pc:sldMk cId="3682517411" sldId="2147470559"/>
            <ac:graphicFrameMk id="8" creationId="{CC919F4A-A7D9-8DDD-DB16-BF7FF8DD9E3B}"/>
          </ac:graphicFrameMkLst>
        </pc:graphicFrameChg>
        <pc:graphicFrameChg chg="del mod modGraphic">
          <ac:chgData name="Dwayne Natwick" userId="d11f0013982d5c78" providerId="Windows Live" clId="Web-{0776C629-8D4C-43A4-976C-2EA887EB93F6}" dt="2023-09-14T16:05:28.050" v="256"/>
          <ac:graphicFrameMkLst>
            <pc:docMk/>
            <pc:sldMk cId="3682517411" sldId="2147470559"/>
            <ac:graphicFrameMk id="11" creationId="{A52E73B0-7A2A-ED30-FEF2-D5B76028305D}"/>
          </ac:graphicFrameMkLst>
        </pc:graphicFrameChg>
      </pc:sldChg>
      <pc:sldChg chg="modSp">
        <pc:chgData name="Dwayne Natwick" userId="d11f0013982d5c78" providerId="Windows Live" clId="Web-{0776C629-8D4C-43A4-976C-2EA887EB93F6}" dt="2023-09-14T16:06:43.443" v="276" actId="20577"/>
        <pc:sldMkLst>
          <pc:docMk/>
          <pc:sldMk cId="2739312586" sldId="2147470565"/>
        </pc:sldMkLst>
        <pc:spChg chg="mod">
          <ac:chgData name="Dwayne Natwick" userId="d11f0013982d5c78" providerId="Windows Live" clId="Web-{0776C629-8D4C-43A4-976C-2EA887EB93F6}" dt="2023-09-14T16:06:43.443" v="276" actId="20577"/>
          <ac:spMkLst>
            <pc:docMk/>
            <pc:sldMk cId="2739312586" sldId="2147470565"/>
            <ac:spMk id="4" creationId="{DAA5FD98-5292-2367-63BF-BB583BFC2A96}"/>
          </ac:spMkLst>
        </pc:spChg>
      </pc:sldChg>
      <pc:sldChg chg="modSp">
        <pc:chgData name="Dwayne Natwick" userId="d11f0013982d5c78" providerId="Windows Live" clId="Web-{0776C629-8D4C-43A4-976C-2EA887EB93F6}" dt="2023-09-14T16:09:20.089" v="295" actId="20577"/>
        <pc:sldMkLst>
          <pc:docMk/>
          <pc:sldMk cId="2251723249" sldId="2147470571"/>
        </pc:sldMkLst>
        <pc:spChg chg="mod">
          <ac:chgData name="Dwayne Natwick" userId="d11f0013982d5c78" providerId="Windows Live" clId="Web-{0776C629-8D4C-43A4-976C-2EA887EB93F6}" dt="2023-09-14T16:09:20.089" v="295" actId="20577"/>
          <ac:spMkLst>
            <pc:docMk/>
            <pc:sldMk cId="2251723249" sldId="2147470571"/>
            <ac:spMk id="4" creationId="{DAA5FD98-5292-2367-63BF-BB583BFC2A96}"/>
          </ac:spMkLst>
        </pc:spChg>
      </pc:sldChg>
      <pc:sldChg chg="del">
        <pc:chgData name="Dwayne Natwick" userId="d11f0013982d5c78" providerId="Windows Live" clId="Web-{0776C629-8D4C-43A4-976C-2EA887EB93F6}" dt="2023-09-14T16:06:16.380" v="265"/>
        <pc:sldMkLst>
          <pc:docMk/>
          <pc:sldMk cId="1593797140" sldId="2147470578"/>
        </pc:sldMkLst>
      </pc:sldChg>
      <pc:sldChg chg="del">
        <pc:chgData name="Dwayne Natwick" userId="d11f0013982d5c78" providerId="Windows Live" clId="Web-{0776C629-8D4C-43A4-976C-2EA887EB93F6}" dt="2023-09-14T16:06:16.380" v="264"/>
        <pc:sldMkLst>
          <pc:docMk/>
          <pc:sldMk cId="1083283128" sldId="2147470581"/>
        </pc:sldMkLst>
      </pc:sldChg>
      <pc:sldChg chg="del">
        <pc:chgData name="Dwayne Natwick" userId="d11f0013982d5c78" providerId="Windows Live" clId="Web-{0776C629-8D4C-43A4-976C-2EA887EB93F6}" dt="2023-09-14T16:06:16.380" v="262"/>
        <pc:sldMkLst>
          <pc:docMk/>
          <pc:sldMk cId="3763189814" sldId="2147470582"/>
        </pc:sldMkLst>
      </pc:sldChg>
      <pc:sldChg chg="addSp delSp modSp new mod modClrScheme chgLayout">
        <pc:chgData name="Dwayne Natwick" userId="d11f0013982d5c78" providerId="Windows Live" clId="Web-{0776C629-8D4C-43A4-976C-2EA887EB93F6}" dt="2023-09-14T16:07:12.975" v="293"/>
        <pc:sldMkLst>
          <pc:docMk/>
          <pc:sldMk cId="702810448" sldId="2147470603"/>
        </pc:sldMkLst>
        <pc:spChg chg="del">
          <ac:chgData name="Dwayne Natwick" userId="d11f0013982d5c78" providerId="Windows Live" clId="Web-{0776C629-8D4C-43A4-976C-2EA887EB93F6}" dt="2023-09-14T16:06:56.162" v="278"/>
          <ac:spMkLst>
            <pc:docMk/>
            <pc:sldMk cId="702810448" sldId="2147470603"/>
            <ac:spMk id="2" creationId="{86D50974-851A-8A1C-4FF3-6F3CB8137A6B}"/>
          </ac:spMkLst>
        </pc:spChg>
        <pc:spChg chg="mod ord">
          <ac:chgData name="Dwayne Natwick" userId="d11f0013982d5c78" providerId="Windows Live" clId="Web-{0776C629-8D4C-43A4-976C-2EA887EB93F6}" dt="2023-09-14T16:07:12.975" v="293"/>
          <ac:spMkLst>
            <pc:docMk/>
            <pc:sldMk cId="702810448" sldId="2147470603"/>
            <ac:spMk id="3" creationId="{6B58DB51-7D0F-F03B-7A4F-5721D8CDBA64}"/>
          </ac:spMkLst>
        </pc:spChg>
        <pc:spChg chg="add mod ord">
          <ac:chgData name="Dwayne Natwick" userId="d11f0013982d5c78" providerId="Windows Live" clId="Web-{0776C629-8D4C-43A4-976C-2EA887EB93F6}" dt="2023-09-14T16:06:56.162" v="278"/>
          <ac:spMkLst>
            <pc:docMk/>
            <pc:sldMk cId="702810448" sldId="2147470603"/>
            <ac:spMk id="4" creationId="{CDA8EC64-B53D-6044-1646-DDC518D794AC}"/>
          </ac:spMkLst>
        </pc:spChg>
      </pc:sldChg>
      <pc:sldChg chg="del">
        <pc:chgData name="Dwayne Natwick" userId="d11f0013982d5c78" providerId="Windows Live" clId="Web-{0776C629-8D4C-43A4-976C-2EA887EB93F6}" dt="2023-09-14T16:06:16.380" v="263"/>
        <pc:sldMkLst>
          <pc:docMk/>
          <pc:sldMk cId="818381816" sldId="2147470603"/>
        </pc:sldMkLst>
      </pc:sldChg>
      <pc:sldChg chg="del">
        <pc:chgData name="Dwayne Natwick" userId="d11f0013982d5c78" providerId="Windows Live" clId="Web-{0776C629-8D4C-43A4-976C-2EA887EB93F6}" dt="2023-09-14T16:06:16.380" v="259"/>
        <pc:sldMkLst>
          <pc:docMk/>
          <pc:sldMk cId="1742974702" sldId="2147470604"/>
        </pc:sldMkLst>
      </pc:sldChg>
      <pc:sldChg chg="del">
        <pc:chgData name="Dwayne Natwick" userId="d11f0013982d5c78" providerId="Windows Live" clId="Web-{0776C629-8D4C-43A4-976C-2EA887EB93F6}" dt="2023-09-14T16:06:16.380" v="260"/>
        <pc:sldMkLst>
          <pc:docMk/>
          <pc:sldMk cId="1637472956" sldId="2147470605"/>
        </pc:sldMkLst>
      </pc:sldChg>
      <pc:sldChg chg="del">
        <pc:chgData name="Dwayne Natwick" userId="d11f0013982d5c78" providerId="Windows Live" clId="Web-{0776C629-8D4C-43A4-976C-2EA887EB93F6}" dt="2023-09-14T16:06:16.380" v="261"/>
        <pc:sldMkLst>
          <pc:docMk/>
          <pc:sldMk cId="3543320482" sldId="2147470606"/>
        </pc:sldMkLst>
      </pc:sldChg>
    </pc:docChg>
  </pc:docChgLst>
  <pc:docChgLst>
    <pc:chgData name="Dwayne Natwick" userId="d11f0013982d5c78" providerId="Windows Live" clId="Web-{E14C6DA2-5B0C-45CC-AEC3-63D802FBCC59}"/>
    <pc:docChg chg="modSld">
      <pc:chgData name="Dwayne Natwick" userId="d11f0013982d5c78" providerId="Windows Live" clId="Web-{E14C6DA2-5B0C-45CC-AEC3-63D802FBCC59}" dt="2023-09-15T12:28:16.488" v="3"/>
      <pc:docMkLst>
        <pc:docMk/>
      </pc:docMkLst>
      <pc:sldChg chg="addSp delSp modSp">
        <pc:chgData name="Dwayne Natwick" userId="d11f0013982d5c78" providerId="Windows Live" clId="Web-{E14C6DA2-5B0C-45CC-AEC3-63D802FBCC59}" dt="2023-09-15T12:28:16.488" v="3"/>
        <pc:sldMkLst>
          <pc:docMk/>
          <pc:sldMk cId="2251723249" sldId="2147470571"/>
        </pc:sldMkLst>
        <pc:picChg chg="add del mod">
          <ac:chgData name="Dwayne Natwick" userId="d11f0013982d5c78" providerId="Windows Live" clId="Web-{E14C6DA2-5B0C-45CC-AEC3-63D802FBCC59}" dt="2023-09-15T12:28:09.066" v="1"/>
          <ac:picMkLst>
            <pc:docMk/>
            <pc:sldMk cId="2251723249" sldId="2147470571"/>
            <ac:picMk id="2" creationId="{C4360434-70BA-43B6-DD41-413FC7EBE89A}"/>
          </ac:picMkLst>
        </pc:picChg>
        <pc:picChg chg="add del mod">
          <ac:chgData name="Dwayne Natwick" userId="d11f0013982d5c78" providerId="Windows Live" clId="Web-{E14C6DA2-5B0C-45CC-AEC3-63D802FBCC59}" dt="2023-09-15T12:28:16.488" v="3"/>
          <ac:picMkLst>
            <pc:docMk/>
            <pc:sldMk cId="2251723249" sldId="2147470571"/>
            <ac:picMk id="3" creationId="{910B8DDA-64E9-236B-C18B-04586A024D55}"/>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13.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ata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ata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13.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rawing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dirty="0"/>
            <a:t>Have permission to purchase from Marketplace</a:t>
          </a:r>
          <a:endParaRPr lang="en-US" dirty="0"/>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dirty="0"/>
            <a:t>Microsoft partner solutions may be in Microsoft portals on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D59EC08-9332-45E0-9AE7-8AF5483D7A4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711003B-71CF-403B-A4E2-C25AAE92A270}">
      <dgm:prSet/>
      <dgm:spPr>
        <a:solidFill>
          <a:schemeClr val="accent2"/>
        </a:solidFill>
      </dgm:spPr>
      <dgm:t>
        <a:bodyPr/>
        <a:lstStyle/>
        <a:p>
          <a:r>
            <a:rPr lang="en-US" baseline="0"/>
            <a:t>Two steps for purchase private offers:</a:t>
          </a:r>
          <a:endParaRPr lang="en-US"/>
        </a:p>
      </dgm:t>
    </dgm:pt>
    <dgm:pt modelId="{DA80C0D7-580B-4DFA-BCA7-D29323DDFE2A}" type="parTrans" cxnId="{31DE63BF-58B6-473E-946E-0DFEC12C668A}">
      <dgm:prSet/>
      <dgm:spPr/>
      <dgm:t>
        <a:bodyPr/>
        <a:lstStyle/>
        <a:p>
          <a:endParaRPr lang="en-US"/>
        </a:p>
      </dgm:t>
    </dgm:pt>
    <dgm:pt modelId="{87DC0BCB-FF55-4C8C-A7F0-40E0A7DB3223}" type="sibTrans" cxnId="{31DE63BF-58B6-473E-946E-0DFEC12C668A}">
      <dgm:prSet/>
      <dgm:spPr/>
      <dgm:t>
        <a:bodyPr/>
        <a:lstStyle/>
        <a:p>
          <a:endParaRPr lang="en-US"/>
        </a:p>
      </dgm:t>
    </dgm:pt>
    <dgm:pt modelId="{92A19483-07B8-4E84-8FE1-2F9982D29163}">
      <dgm:prSet/>
      <dgm:spPr/>
      <dgm:t>
        <a:bodyPr/>
        <a:lstStyle/>
        <a:p>
          <a:r>
            <a:rPr lang="en-US" baseline="0"/>
            <a:t>Accept</a:t>
          </a:r>
          <a:endParaRPr lang="en-US"/>
        </a:p>
      </dgm:t>
    </dgm:pt>
    <dgm:pt modelId="{AD6E27F7-6A98-4CFF-8ACD-8ABCA2F50138}" type="parTrans" cxnId="{1ECC7BDB-F370-491C-8A49-EBE565311295}">
      <dgm:prSet/>
      <dgm:spPr/>
      <dgm:t>
        <a:bodyPr/>
        <a:lstStyle/>
        <a:p>
          <a:endParaRPr lang="en-US"/>
        </a:p>
      </dgm:t>
    </dgm:pt>
    <dgm:pt modelId="{7C83970B-35A0-486C-A7BC-BDB3137E852C}" type="sibTrans" cxnId="{1ECC7BDB-F370-491C-8A49-EBE565311295}">
      <dgm:prSet/>
      <dgm:spPr/>
      <dgm:t>
        <a:bodyPr/>
        <a:lstStyle/>
        <a:p>
          <a:endParaRPr lang="en-US"/>
        </a:p>
      </dgm:t>
    </dgm:pt>
    <dgm:pt modelId="{C6AD797C-8527-4B01-ADD6-8E1C6C87100F}">
      <dgm:prSet/>
      <dgm:spPr/>
      <dgm:t>
        <a:bodyPr/>
        <a:lstStyle/>
        <a:p>
          <a:r>
            <a:rPr lang="en-US" baseline="0"/>
            <a:t>Purchase</a:t>
          </a:r>
          <a:endParaRPr lang="en-US"/>
        </a:p>
      </dgm:t>
    </dgm:pt>
    <dgm:pt modelId="{19FF4E1D-E7D1-4D48-8089-43BA07FF36EB}" type="parTrans" cxnId="{D9A3DEAC-A3C8-4023-AA69-DC2668DED2FE}">
      <dgm:prSet/>
      <dgm:spPr/>
      <dgm:t>
        <a:bodyPr/>
        <a:lstStyle/>
        <a:p>
          <a:endParaRPr lang="en-US"/>
        </a:p>
      </dgm:t>
    </dgm:pt>
    <dgm:pt modelId="{E7144D4E-6B98-495B-B034-1B8C699EC0EA}" type="sibTrans" cxnId="{D9A3DEAC-A3C8-4023-AA69-DC2668DED2FE}">
      <dgm:prSet/>
      <dgm:spPr/>
      <dgm:t>
        <a:bodyPr/>
        <a:lstStyle/>
        <a:p>
          <a:endParaRPr lang="en-US"/>
        </a:p>
      </dgm:t>
    </dgm:pt>
    <dgm:pt modelId="{501618A0-93EE-4C28-81D7-D794D90785DD}">
      <dgm:prSet/>
      <dgm:spPr>
        <a:solidFill>
          <a:schemeClr val="accent2"/>
        </a:solidFill>
      </dgm:spPr>
      <dgm:t>
        <a:bodyPr/>
        <a:lstStyle/>
        <a:p>
          <a:r>
            <a:rPr lang="en-US" baseline="0"/>
            <a:t>SaaS subscriptions</a:t>
          </a:r>
          <a:endParaRPr lang="en-US"/>
        </a:p>
      </dgm:t>
    </dgm:pt>
    <dgm:pt modelId="{32ED9409-A720-44E2-8064-D846BB76657A}" type="parTrans" cxnId="{9AA62993-54EA-4B95-8A3B-E8C023089F61}">
      <dgm:prSet/>
      <dgm:spPr/>
      <dgm:t>
        <a:bodyPr/>
        <a:lstStyle/>
        <a:p>
          <a:endParaRPr lang="en-US"/>
        </a:p>
      </dgm:t>
    </dgm:pt>
    <dgm:pt modelId="{95ADA168-B0D1-4E95-A3DA-D575FDE947AD}" type="sibTrans" cxnId="{9AA62993-54EA-4B95-8A3B-E8C023089F61}">
      <dgm:prSet/>
      <dgm:spPr/>
      <dgm:t>
        <a:bodyPr/>
        <a:lstStyle/>
        <a:p>
          <a:endParaRPr lang="en-US"/>
        </a:p>
      </dgm:t>
    </dgm:pt>
    <dgm:pt modelId="{C89B7F27-0175-4E73-A877-53EC21F81594}">
      <dgm:prSet/>
      <dgm:spPr/>
      <dgm:t>
        <a:bodyPr/>
        <a:lstStyle/>
        <a:p>
          <a:r>
            <a:rPr lang="en-US" baseline="0"/>
            <a:t>Completed in publisher's portal</a:t>
          </a:r>
          <a:endParaRPr lang="en-US"/>
        </a:p>
      </dgm:t>
    </dgm:pt>
    <dgm:pt modelId="{283FE0BF-FC54-4EC7-BD26-E0BD9962243F}" type="parTrans" cxnId="{19CAE3A6-DDC1-4BE9-86AA-7EAFEA44260A}">
      <dgm:prSet/>
      <dgm:spPr/>
      <dgm:t>
        <a:bodyPr/>
        <a:lstStyle/>
        <a:p>
          <a:endParaRPr lang="en-US"/>
        </a:p>
      </dgm:t>
    </dgm:pt>
    <dgm:pt modelId="{E516E0EC-6D76-4054-B562-0293C50AE49A}" type="sibTrans" cxnId="{19CAE3A6-DDC1-4BE9-86AA-7EAFEA44260A}">
      <dgm:prSet/>
      <dgm:spPr/>
      <dgm:t>
        <a:bodyPr/>
        <a:lstStyle/>
        <a:p>
          <a:endParaRPr lang="en-US"/>
        </a:p>
      </dgm:t>
    </dgm:pt>
    <dgm:pt modelId="{62FBD0AC-EC5A-44DE-8A2E-2C4DC521129F}">
      <dgm:prSet/>
      <dgm:spPr/>
      <dgm:t>
        <a:bodyPr/>
        <a:lstStyle/>
        <a:p>
          <a:r>
            <a:rPr lang="en-US" baseline="0"/>
            <a:t>Requires Entra ID (Azure Active Directory) permissions</a:t>
          </a:r>
          <a:endParaRPr lang="en-US"/>
        </a:p>
      </dgm:t>
    </dgm:pt>
    <dgm:pt modelId="{EF8AD997-A4A1-407C-B3CB-6EA91BB25FC7}" type="parTrans" cxnId="{11986664-5DA0-4757-8ED1-DA23DFDB1EC4}">
      <dgm:prSet/>
      <dgm:spPr/>
      <dgm:t>
        <a:bodyPr/>
        <a:lstStyle/>
        <a:p>
          <a:endParaRPr lang="en-US"/>
        </a:p>
      </dgm:t>
    </dgm:pt>
    <dgm:pt modelId="{F959C7C3-34B8-4D79-9C0F-0C8D7E22C6E9}" type="sibTrans" cxnId="{11986664-5DA0-4757-8ED1-DA23DFDB1EC4}">
      <dgm:prSet/>
      <dgm:spPr/>
      <dgm:t>
        <a:bodyPr/>
        <a:lstStyle/>
        <a:p>
          <a:endParaRPr lang="en-US"/>
        </a:p>
      </dgm:t>
    </dgm:pt>
    <dgm:pt modelId="{DA3CEB1E-FB78-4DFC-8727-7ECBD3A5E0D2}">
      <dgm:prSet/>
      <dgm:spPr>
        <a:solidFill>
          <a:schemeClr val="accent2"/>
        </a:solidFill>
      </dgm:spPr>
      <dgm:t>
        <a:bodyPr/>
        <a:lstStyle/>
        <a:p>
          <a:r>
            <a:rPr lang="en-US" baseline="0"/>
            <a:t>Finding permissions</a:t>
          </a:r>
          <a:endParaRPr lang="en-US"/>
        </a:p>
      </dgm:t>
    </dgm:pt>
    <dgm:pt modelId="{4393A8AE-C05E-455B-A475-2372DE8A2466}" type="parTrans" cxnId="{26423390-038D-43A2-977D-C8FEF98DDF29}">
      <dgm:prSet/>
      <dgm:spPr/>
      <dgm:t>
        <a:bodyPr/>
        <a:lstStyle/>
        <a:p>
          <a:endParaRPr lang="en-US"/>
        </a:p>
      </dgm:t>
    </dgm:pt>
    <dgm:pt modelId="{5095AF66-B0A2-499C-A4AF-6D353B13B90E}" type="sibTrans" cxnId="{26423390-038D-43A2-977D-C8FEF98DDF29}">
      <dgm:prSet/>
      <dgm:spPr/>
      <dgm:t>
        <a:bodyPr/>
        <a:lstStyle/>
        <a:p>
          <a:endParaRPr lang="en-US"/>
        </a:p>
      </dgm:t>
    </dgm:pt>
    <dgm:pt modelId="{54F52F22-16EC-437C-89EB-620112022E96}">
      <dgm:prSet/>
      <dgm:spPr/>
      <dgm:t>
        <a:bodyPr/>
        <a:lstStyle/>
        <a:p>
          <a:r>
            <a:rPr lang="en-US" baseline="0"/>
            <a:t>Marketplace private offers precheck tool (</a:t>
          </a:r>
          <a:r>
            <a:rPr lang="en-US" baseline="0">
              <a:hlinkClick xmlns:r="http://schemas.openxmlformats.org/officeDocument/2006/relationships" r:id="rId1"/>
            </a:rPr>
            <a:t>https://learn.microsoft.com/en-us/marketplace/private-offers-pre-check</a:t>
          </a:r>
          <a:r>
            <a:rPr lang="en-US" baseline="0"/>
            <a:t>)</a:t>
          </a:r>
          <a:endParaRPr lang="en-US"/>
        </a:p>
      </dgm:t>
    </dgm:pt>
    <dgm:pt modelId="{2B2979BB-82D3-4319-BD75-AA0F25DDB37B}" type="parTrans" cxnId="{5CEF270F-9DD6-468A-AB7E-DE583EF7D280}">
      <dgm:prSet/>
      <dgm:spPr/>
      <dgm:t>
        <a:bodyPr/>
        <a:lstStyle/>
        <a:p>
          <a:endParaRPr lang="en-US"/>
        </a:p>
      </dgm:t>
    </dgm:pt>
    <dgm:pt modelId="{ECBBEE0F-17E3-485B-B744-FBF45AF194BB}" type="sibTrans" cxnId="{5CEF270F-9DD6-468A-AB7E-DE583EF7D280}">
      <dgm:prSet/>
      <dgm:spPr/>
      <dgm:t>
        <a:bodyPr/>
        <a:lstStyle/>
        <a:p>
          <a:endParaRPr lang="en-US"/>
        </a:p>
      </dgm:t>
    </dgm:pt>
    <dgm:pt modelId="{45F65CBE-3E31-4E17-B2DB-2E4EAF48E52D}">
      <dgm:prSet/>
      <dgm:spPr/>
      <dgm:t>
        <a:bodyPr/>
        <a:lstStyle/>
        <a:p>
          <a:r>
            <a:rPr lang="en-US" baseline="0"/>
            <a:t>Private marketplace – product will be in the allow list</a:t>
          </a:r>
          <a:endParaRPr lang="en-US"/>
        </a:p>
      </dgm:t>
    </dgm:pt>
    <dgm:pt modelId="{0CE179BD-59F8-4E6D-B073-A6F3FAFC92AF}" type="parTrans" cxnId="{C2977DED-4A19-4621-B98D-16260CF10A97}">
      <dgm:prSet/>
      <dgm:spPr/>
      <dgm:t>
        <a:bodyPr/>
        <a:lstStyle/>
        <a:p>
          <a:endParaRPr lang="en-US"/>
        </a:p>
      </dgm:t>
    </dgm:pt>
    <dgm:pt modelId="{78FE51E0-0083-4660-BA98-976BE0DC2428}" type="sibTrans" cxnId="{C2977DED-4A19-4621-B98D-16260CF10A97}">
      <dgm:prSet/>
      <dgm:spPr/>
      <dgm:t>
        <a:bodyPr/>
        <a:lstStyle/>
        <a:p>
          <a:endParaRPr lang="en-US"/>
        </a:p>
      </dgm:t>
    </dgm:pt>
    <dgm:pt modelId="{58250BBC-F260-4073-B4E4-A29438F4C58E}">
      <dgm:prSet/>
      <dgm:spPr/>
      <dgm:t>
        <a:bodyPr/>
        <a:lstStyle/>
        <a:p>
          <a:r>
            <a:rPr lang="en-US" baseline="0"/>
            <a:t>Azure policies – used to block or enforce tagging when resources are created</a:t>
          </a:r>
          <a:endParaRPr lang="en-US"/>
        </a:p>
      </dgm:t>
    </dgm:pt>
    <dgm:pt modelId="{E934EFD9-9714-400E-A76B-B3B07E0BBBFB}" type="parTrans" cxnId="{0483B198-8035-401F-B986-74A5142B3FCA}">
      <dgm:prSet/>
      <dgm:spPr/>
      <dgm:t>
        <a:bodyPr/>
        <a:lstStyle/>
        <a:p>
          <a:endParaRPr lang="en-US"/>
        </a:p>
      </dgm:t>
    </dgm:pt>
    <dgm:pt modelId="{A931FBA9-C992-4BC1-A512-2B75871CDF61}" type="sibTrans" cxnId="{0483B198-8035-401F-B986-74A5142B3FCA}">
      <dgm:prSet/>
      <dgm:spPr/>
      <dgm:t>
        <a:bodyPr/>
        <a:lstStyle/>
        <a:p>
          <a:endParaRPr lang="en-US"/>
        </a:p>
      </dgm:t>
    </dgm:pt>
    <dgm:pt modelId="{64A981D5-9374-4FCA-A8F4-00E474ED1576}" type="pres">
      <dgm:prSet presAssocID="{3D59EC08-9332-45E0-9AE7-8AF5483D7A4F}" presName="linear" presStyleCnt="0">
        <dgm:presLayoutVars>
          <dgm:dir/>
          <dgm:animLvl val="lvl"/>
          <dgm:resizeHandles val="exact"/>
        </dgm:presLayoutVars>
      </dgm:prSet>
      <dgm:spPr/>
    </dgm:pt>
    <dgm:pt modelId="{65DD332B-0777-427B-8BF6-F4B9F6F21EEA}" type="pres">
      <dgm:prSet presAssocID="{B711003B-71CF-403B-A4E2-C25AAE92A270}" presName="parentLin" presStyleCnt="0"/>
      <dgm:spPr/>
    </dgm:pt>
    <dgm:pt modelId="{64B2DE64-E65C-43DC-BD08-81DD6B0B9DDD}" type="pres">
      <dgm:prSet presAssocID="{B711003B-71CF-403B-A4E2-C25AAE92A270}" presName="parentLeftMargin" presStyleLbl="node1" presStyleIdx="0" presStyleCnt="3"/>
      <dgm:spPr/>
    </dgm:pt>
    <dgm:pt modelId="{35B8B9FC-FC2F-48D1-8D16-AD533F24C4B6}" type="pres">
      <dgm:prSet presAssocID="{B711003B-71CF-403B-A4E2-C25AAE92A270}" presName="parentText" presStyleLbl="node1" presStyleIdx="0" presStyleCnt="3">
        <dgm:presLayoutVars>
          <dgm:chMax val="0"/>
          <dgm:bulletEnabled val="1"/>
        </dgm:presLayoutVars>
      </dgm:prSet>
      <dgm:spPr/>
    </dgm:pt>
    <dgm:pt modelId="{6070ABA8-2C0A-4939-94B9-442A8653ED30}" type="pres">
      <dgm:prSet presAssocID="{B711003B-71CF-403B-A4E2-C25AAE92A270}" presName="negativeSpace" presStyleCnt="0"/>
      <dgm:spPr/>
    </dgm:pt>
    <dgm:pt modelId="{E3A4A9AB-47D7-4AAC-82AD-B40F8998EDDA}" type="pres">
      <dgm:prSet presAssocID="{B711003B-71CF-403B-A4E2-C25AAE92A270}" presName="childText" presStyleLbl="conFgAcc1" presStyleIdx="0" presStyleCnt="3">
        <dgm:presLayoutVars>
          <dgm:bulletEnabled val="1"/>
        </dgm:presLayoutVars>
      </dgm:prSet>
      <dgm:spPr/>
    </dgm:pt>
    <dgm:pt modelId="{47C07011-0120-4156-8651-12193D99555C}" type="pres">
      <dgm:prSet presAssocID="{87DC0BCB-FF55-4C8C-A7F0-40E0A7DB3223}" presName="spaceBetweenRectangles" presStyleCnt="0"/>
      <dgm:spPr/>
    </dgm:pt>
    <dgm:pt modelId="{8A760CA9-26C0-4DF5-B16E-575AB0BC195D}" type="pres">
      <dgm:prSet presAssocID="{501618A0-93EE-4C28-81D7-D794D90785DD}" presName="parentLin" presStyleCnt="0"/>
      <dgm:spPr/>
    </dgm:pt>
    <dgm:pt modelId="{FC141A0F-147B-49F1-BAC8-A93733021031}" type="pres">
      <dgm:prSet presAssocID="{501618A0-93EE-4C28-81D7-D794D90785DD}" presName="parentLeftMargin" presStyleLbl="node1" presStyleIdx="0" presStyleCnt="3"/>
      <dgm:spPr/>
    </dgm:pt>
    <dgm:pt modelId="{CDE54510-D1F2-44F3-BA3A-F9CEC9431F7F}" type="pres">
      <dgm:prSet presAssocID="{501618A0-93EE-4C28-81D7-D794D90785DD}" presName="parentText" presStyleLbl="node1" presStyleIdx="1" presStyleCnt="3">
        <dgm:presLayoutVars>
          <dgm:chMax val="0"/>
          <dgm:bulletEnabled val="1"/>
        </dgm:presLayoutVars>
      </dgm:prSet>
      <dgm:spPr/>
    </dgm:pt>
    <dgm:pt modelId="{416562D5-4417-419C-A847-BC53E2DE7D2F}" type="pres">
      <dgm:prSet presAssocID="{501618A0-93EE-4C28-81D7-D794D90785DD}" presName="negativeSpace" presStyleCnt="0"/>
      <dgm:spPr/>
    </dgm:pt>
    <dgm:pt modelId="{4463158C-EC9F-489E-9836-2A7B1CB462AF}" type="pres">
      <dgm:prSet presAssocID="{501618A0-93EE-4C28-81D7-D794D90785DD}" presName="childText" presStyleLbl="conFgAcc1" presStyleIdx="1" presStyleCnt="3">
        <dgm:presLayoutVars>
          <dgm:bulletEnabled val="1"/>
        </dgm:presLayoutVars>
      </dgm:prSet>
      <dgm:spPr/>
    </dgm:pt>
    <dgm:pt modelId="{8BEBBCE4-5F6F-48D7-A0DA-1E9DD4724580}" type="pres">
      <dgm:prSet presAssocID="{95ADA168-B0D1-4E95-A3DA-D575FDE947AD}" presName="spaceBetweenRectangles" presStyleCnt="0"/>
      <dgm:spPr/>
    </dgm:pt>
    <dgm:pt modelId="{BC125C4C-78D4-4F5A-9A62-018A3C266535}" type="pres">
      <dgm:prSet presAssocID="{DA3CEB1E-FB78-4DFC-8727-7ECBD3A5E0D2}" presName="parentLin" presStyleCnt="0"/>
      <dgm:spPr/>
    </dgm:pt>
    <dgm:pt modelId="{0F54BF83-761F-459E-8693-7F1E9ADF781A}" type="pres">
      <dgm:prSet presAssocID="{DA3CEB1E-FB78-4DFC-8727-7ECBD3A5E0D2}" presName="parentLeftMargin" presStyleLbl="node1" presStyleIdx="1" presStyleCnt="3"/>
      <dgm:spPr/>
    </dgm:pt>
    <dgm:pt modelId="{F23A4A5F-3279-4844-9F37-797736070D7C}" type="pres">
      <dgm:prSet presAssocID="{DA3CEB1E-FB78-4DFC-8727-7ECBD3A5E0D2}" presName="parentText" presStyleLbl="node1" presStyleIdx="2" presStyleCnt="3">
        <dgm:presLayoutVars>
          <dgm:chMax val="0"/>
          <dgm:bulletEnabled val="1"/>
        </dgm:presLayoutVars>
      </dgm:prSet>
      <dgm:spPr/>
    </dgm:pt>
    <dgm:pt modelId="{04DE1379-AA20-4E15-9D9C-DC1A97877584}" type="pres">
      <dgm:prSet presAssocID="{DA3CEB1E-FB78-4DFC-8727-7ECBD3A5E0D2}" presName="negativeSpace" presStyleCnt="0"/>
      <dgm:spPr/>
    </dgm:pt>
    <dgm:pt modelId="{416B9D5B-018B-4AD8-95F9-F3A46DF79AF1}" type="pres">
      <dgm:prSet presAssocID="{DA3CEB1E-FB78-4DFC-8727-7ECBD3A5E0D2}" presName="childText" presStyleLbl="conFgAcc1" presStyleIdx="2" presStyleCnt="3">
        <dgm:presLayoutVars>
          <dgm:bulletEnabled val="1"/>
        </dgm:presLayoutVars>
      </dgm:prSet>
      <dgm:spPr/>
    </dgm:pt>
  </dgm:ptLst>
  <dgm:cxnLst>
    <dgm:cxn modelId="{B2594404-48C9-4523-9B2F-8B09D68BF2C9}" type="presOf" srcId="{58250BBC-F260-4073-B4E4-A29438F4C58E}" destId="{416B9D5B-018B-4AD8-95F9-F3A46DF79AF1}" srcOrd="0" destOrd="2" presId="urn:microsoft.com/office/officeart/2005/8/layout/list1"/>
    <dgm:cxn modelId="{5CEF270F-9DD6-468A-AB7E-DE583EF7D280}" srcId="{DA3CEB1E-FB78-4DFC-8727-7ECBD3A5E0D2}" destId="{54F52F22-16EC-437C-89EB-620112022E96}" srcOrd="0" destOrd="0" parTransId="{2B2979BB-82D3-4319-BD75-AA0F25DDB37B}" sibTransId="{ECBBEE0F-17E3-485B-B744-FBF45AF194BB}"/>
    <dgm:cxn modelId="{7158A427-0692-4AB1-972B-80D05B19D630}" type="presOf" srcId="{92A19483-07B8-4E84-8FE1-2F9982D29163}" destId="{E3A4A9AB-47D7-4AAC-82AD-B40F8998EDDA}" srcOrd="0" destOrd="0" presId="urn:microsoft.com/office/officeart/2005/8/layout/list1"/>
    <dgm:cxn modelId="{99B2E25F-75CE-4679-9A89-BF56432A24D2}" type="presOf" srcId="{54F52F22-16EC-437C-89EB-620112022E96}" destId="{416B9D5B-018B-4AD8-95F9-F3A46DF79AF1}" srcOrd="0" destOrd="0" presId="urn:microsoft.com/office/officeart/2005/8/layout/list1"/>
    <dgm:cxn modelId="{3CBC7741-93A1-423E-B5C4-A0D06D8AA934}" type="presOf" srcId="{62FBD0AC-EC5A-44DE-8A2E-2C4DC521129F}" destId="{4463158C-EC9F-489E-9836-2A7B1CB462AF}" srcOrd="0" destOrd="1" presId="urn:microsoft.com/office/officeart/2005/8/layout/list1"/>
    <dgm:cxn modelId="{2D6E1B42-03BF-41B3-9DCD-4196586B2532}" type="presOf" srcId="{DA3CEB1E-FB78-4DFC-8727-7ECBD3A5E0D2}" destId="{0F54BF83-761F-459E-8693-7F1E9ADF781A}" srcOrd="0" destOrd="0" presId="urn:microsoft.com/office/officeart/2005/8/layout/list1"/>
    <dgm:cxn modelId="{11986664-5DA0-4757-8ED1-DA23DFDB1EC4}" srcId="{501618A0-93EE-4C28-81D7-D794D90785DD}" destId="{62FBD0AC-EC5A-44DE-8A2E-2C4DC521129F}" srcOrd="1" destOrd="0" parTransId="{EF8AD997-A4A1-407C-B3CB-6EA91BB25FC7}" sibTransId="{F959C7C3-34B8-4D79-9C0F-0C8D7E22C6E9}"/>
    <dgm:cxn modelId="{507EB94D-9D7D-467E-9782-C2EFA74D7CDF}" type="presOf" srcId="{B711003B-71CF-403B-A4E2-C25AAE92A270}" destId="{64B2DE64-E65C-43DC-BD08-81DD6B0B9DDD}" srcOrd="0" destOrd="0" presId="urn:microsoft.com/office/officeart/2005/8/layout/list1"/>
    <dgm:cxn modelId="{DD96AB7A-9FF4-4D93-8CA4-76F4FE428F58}" type="presOf" srcId="{501618A0-93EE-4C28-81D7-D794D90785DD}" destId="{FC141A0F-147B-49F1-BAC8-A93733021031}" srcOrd="0" destOrd="0" presId="urn:microsoft.com/office/officeart/2005/8/layout/list1"/>
    <dgm:cxn modelId="{D271FB8D-C012-41C6-A415-8DC4ADBDBCEC}" type="presOf" srcId="{501618A0-93EE-4C28-81D7-D794D90785DD}" destId="{CDE54510-D1F2-44F3-BA3A-F9CEC9431F7F}" srcOrd="1" destOrd="0" presId="urn:microsoft.com/office/officeart/2005/8/layout/list1"/>
    <dgm:cxn modelId="{26423390-038D-43A2-977D-C8FEF98DDF29}" srcId="{3D59EC08-9332-45E0-9AE7-8AF5483D7A4F}" destId="{DA3CEB1E-FB78-4DFC-8727-7ECBD3A5E0D2}" srcOrd="2" destOrd="0" parTransId="{4393A8AE-C05E-455B-A475-2372DE8A2466}" sibTransId="{5095AF66-B0A2-499C-A4AF-6D353B13B90E}"/>
    <dgm:cxn modelId="{F4DEC491-8E4D-4293-8016-829BF0DA8EB0}" type="presOf" srcId="{B711003B-71CF-403B-A4E2-C25AAE92A270}" destId="{35B8B9FC-FC2F-48D1-8D16-AD533F24C4B6}" srcOrd="1" destOrd="0" presId="urn:microsoft.com/office/officeart/2005/8/layout/list1"/>
    <dgm:cxn modelId="{9AA62993-54EA-4B95-8A3B-E8C023089F61}" srcId="{3D59EC08-9332-45E0-9AE7-8AF5483D7A4F}" destId="{501618A0-93EE-4C28-81D7-D794D90785DD}" srcOrd="1" destOrd="0" parTransId="{32ED9409-A720-44E2-8064-D846BB76657A}" sibTransId="{95ADA168-B0D1-4E95-A3DA-D575FDE947AD}"/>
    <dgm:cxn modelId="{0483B198-8035-401F-B986-74A5142B3FCA}" srcId="{DA3CEB1E-FB78-4DFC-8727-7ECBD3A5E0D2}" destId="{58250BBC-F260-4073-B4E4-A29438F4C58E}" srcOrd="2" destOrd="0" parTransId="{E934EFD9-9714-400E-A76B-B3B07E0BBBFB}" sibTransId="{A931FBA9-C992-4BC1-A512-2B75871CDF61}"/>
    <dgm:cxn modelId="{19CAE3A6-DDC1-4BE9-86AA-7EAFEA44260A}" srcId="{501618A0-93EE-4C28-81D7-D794D90785DD}" destId="{C89B7F27-0175-4E73-A877-53EC21F81594}" srcOrd="0" destOrd="0" parTransId="{283FE0BF-FC54-4EC7-BD26-E0BD9962243F}" sibTransId="{E516E0EC-6D76-4054-B562-0293C50AE49A}"/>
    <dgm:cxn modelId="{D9A3DEAC-A3C8-4023-AA69-DC2668DED2FE}" srcId="{B711003B-71CF-403B-A4E2-C25AAE92A270}" destId="{C6AD797C-8527-4B01-ADD6-8E1C6C87100F}" srcOrd="1" destOrd="0" parTransId="{19FF4E1D-E7D1-4D48-8089-43BA07FF36EB}" sibTransId="{E7144D4E-6B98-495B-B034-1B8C699EC0EA}"/>
    <dgm:cxn modelId="{190462B5-5D8C-4642-8D9F-7DC1071CAC04}" type="presOf" srcId="{C89B7F27-0175-4E73-A877-53EC21F81594}" destId="{4463158C-EC9F-489E-9836-2A7B1CB462AF}" srcOrd="0" destOrd="0" presId="urn:microsoft.com/office/officeart/2005/8/layout/list1"/>
    <dgm:cxn modelId="{31DE63BF-58B6-473E-946E-0DFEC12C668A}" srcId="{3D59EC08-9332-45E0-9AE7-8AF5483D7A4F}" destId="{B711003B-71CF-403B-A4E2-C25AAE92A270}" srcOrd="0" destOrd="0" parTransId="{DA80C0D7-580B-4DFA-BCA7-D29323DDFE2A}" sibTransId="{87DC0BCB-FF55-4C8C-A7F0-40E0A7DB3223}"/>
    <dgm:cxn modelId="{CFDE2AC3-A8B2-4FC1-8DF8-F4EC70EC07CB}" type="presOf" srcId="{DA3CEB1E-FB78-4DFC-8727-7ECBD3A5E0D2}" destId="{F23A4A5F-3279-4844-9F37-797736070D7C}" srcOrd="1" destOrd="0" presId="urn:microsoft.com/office/officeart/2005/8/layout/list1"/>
    <dgm:cxn modelId="{91BC5ECB-FA81-45FA-931C-4574DFCA0D53}" type="presOf" srcId="{3D59EC08-9332-45E0-9AE7-8AF5483D7A4F}" destId="{64A981D5-9374-4FCA-A8F4-00E474ED1576}" srcOrd="0" destOrd="0" presId="urn:microsoft.com/office/officeart/2005/8/layout/list1"/>
    <dgm:cxn modelId="{523FFCCF-A522-4C49-A2C4-173FCEF68B1B}" type="presOf" srcId="{C6AD797C-8527-4B01-ADD6-8E1C6C87100F}" destId="{E3A4A9AB-47D7-4AAC-82AD-B40F8998EDDA}" srcOrd="0" destOrd="1" presId="urn:microsoft.com/office/officeart/2005/8/layout/list1"/>
    <dgm:cxn modelId="{1ECC7BDB-F370-491C-8A49-EBE565311295}" srcId="{B711003B-71CF-403B-A4E2-C25AAE92A270}" destId="{92A19483-07B8-4E84-8FE1-2F9982D29163}" srcOrd="0" destOrd="0" parTransId="{AD6E27F7-6A98-4CFF-8ACD-8ABCA2F50138}" sibTransId="{7C83970B-35A0-486C-A7BC-BDB3137E852C}"/>
    <dgm:cxn modelId="{C2977DED-4A19-4621-B98D-16260CF10A97}" srcId="{DA3CEB1E-FB78-4DFC-8727-7ECBD3A5E0D2}" destId="{45F65CBE-3E31-4E17-B2DB-2E4EAF48E52D}" srcOrd="1" destOrd="0" parTransId="{0CE179BD-59F8-4E6D-B073-A6F3FAFC92AF}" sibTransId="{78FE51E0-0083-4660-BA98-976BE0DC2428}"/>
    <dgm:cxn modelId="{629030FA-6487-49D5-B553-47194849E787}" type="presOf" srcId="{45F65CBE-3E31-4E17-B2DB-2E4EAF48E52D}" destId="{416B9D5B-018B-4AD8-95F9-F3A46DF79AF1}" srcOrd="0" destOrd="1" presId="urn:microsoft.com/office/officeart/2005/8/layout/list1"/>
    <dgm:cxn modelId="{ABF90D9B-7914-427C-9637-C1F1DFF525AA}" type="presParOf" srcId="{64A981D5-9374-4FCA-A8F4-00E474ED1576}" destId="{65DD332B-0777-427B-8BF6-F4B9F6F21EEA}" srcOrd="0" destOrd="0" presId="urn:microsoft.com/office/officeart/2005/8/layout/list1"/>
    <dgm:cxn modelId="{5E0A06E9-6D5C-499F-9DB0-4837860D42BE}" type="presParOf" srcId="{65DD332B-0777-427B-8BF6-F4B9F6F21EEA}" destId="{64B2DE64-E65C-43DC-BD08-81DD6B0B9DDD}" srcOrd="0" destOrd="0" presId="urn:microsoft.com/office/officeart/2005/8/layout/list1"/>
    <dgm:cxn modelId="{886AA3B2-727A-4FBD-B5D0-E2FF35A6EEE8}" type="presParOf" srcId="{65DD332B-0777-427B-8BF6-F4B9F6F21EEA}" destId="{35B8B9FC-FC2F-48D1-8D16-AD533F24C4B6}" srcOrd="1" destOrd="0" presId="urn:microsoft.com/office/officeart/2005/8/layout/list1"/>
    <dgm:cxn modelId="{BF28EC05-81F8-4688-96EE-AFDB06D3F806}" type="presParOf" srcId="{64A981D5-9374-4FCA-A8F4-00E474ED1576}" destId="{6070ABA8-2C0A-4939-94B9-442A8653ED30}" srcOrd="1" destOrd="0" presId="urn:microsoft.com/office/officeart/2005/8/layout/list1"/>
    <dgm:cxn modelId="{BCB754E2-233A-4539-9470-80D296E781D0}" type="presParOf" srcId="{64A981D5-9374-4FCA-A8F4-00E474ED1576}" destId="{E3A4A9AB-47D7-4AAC-82AD-B40F8998EDDA}" srcOrd="2" destOrd="0" presId="urn:microsoft.com/office/officeart/2005/8/layout/list1"/>
    <dgm:cxn modelId="{8E20B65F-1E48-4EEC-865F-82945B4D7F3F}" type="presParOf" srcId="{64A981D5-9374-4FCA-A8F4-00E474ED1576}" destId="{47C07011-0120-4156-8651-12193D99555C}" srcOrd="3" destOrd="0" presId="urn:microsoft.com/office/officeart/2005/8/layout/list1"/>
    <dgm:cxn modelId="{AE31D863-A91B-4E19-9FEB-DF54DBDADC71}" type="presParOf" srcId="{64A981D5-9374-4FCA-A8F4-00E474ED1576}" destId="{8A760CA9-26C0-4DF5-B16E-575AB0BC195D}" srcOrd="4" destOrd="0" presId="urn:microsoft.com/office/officeart/2005/8/layout/list1"/>
    <dgm:cxn modelId="{891F76BA-9991-497B-B59C-C48FD3026A7E}" type="presParOf" srcId="{8A760CA9-26C0-4DF5-B16E-575AB0BC195D}" destId="{FC141A0F-147B-49F1-BAC8-A93733021031}" srcOrd="0" destOrd="0" presId="urn:microsoft.com/office/officeart/2005/8/layout/list1"/>
    <dgm:cxn modelId="{FDE9E966-034A-4939-9717-346130842838}" type="presParOf" srcId="{8A760CA9-26C0-4DF5-B16E-575AB0BC195D}" destId="{CDE54510-D1F2-44F3-BA3A-F9CEC9431F7F}" srcOrd="1" destOrd="0" presId="urn:microsoft.com/office/officeart/2005/8/layout/list1"/>
    <dgm:cxn modelId="{B68FE854-6CD2-403B-9DC8-88575409BA6F}" type="presParOf" srcId="{64A981D5-9374-4FCA-A8F4-00E474ED1576}" destId="{416562D5-4417-419C-A847-BC53E2DE7D2F}" srcOrd="5" destOrd="0" presId="urn:microsoft.com/office/officeart/2005/8/layout/list1"/>
    <dgm:cxn modelId="{92A123E7-281C-49D4-9010-4D36D6F4A68B}" type="presParOf" srcId="{64A981D5-9374-4FCA-A8F4-00E474ED1576}" destId="{4463158C-EC9F-489E-9836-2A7B1CB462AF}" srcOrd="6" destOrd="0" presId="urn:microsoft.com/office/officeart/2005/8/layout/list1"/>
    <dgm:cxn modelId="{A5C11662-F453-470D-961A-146D9BAE2FFC}" type="presParOf" srcId="{64A981D5-9374-4FCA-A8F4-00E474ED1576}" destId="{8BEBBCE4-5F6F-48D7-A0DA-1E9DD4724580}" srcOrd="7" destOrd="0" presId="urn:microsoft.com/office/officeart/2005/8/layout/list1"/>
    <dgm:cxn modelId="{1BEE32C7-ED35-4955-ABDD-FD643480ED54}" type="presParOf" srcId="{64A981D5-9374-4FCA-A8F4-00E474ED1576}" destId="{BC125C4C-78D4-4F5A-9A62-018A3C266535}" srcOrd="8" destOrd="0" presId="urn:microsoft.com/office/officeart/2005/8/layout/list1"/>
    <dgm:cxn modelId="{D814105B-AB1D-4013-ADF0-251DB07D2809}" type="presParOf" srcId="{BC125C4C-78D4-4F5A-9A62-018A3C266535}" destId="{0F54BF83-761F-459E-8693-7F1E9ADF781A}" srcOrd="0" destOrd="0" presId="urn:microsoft.com/office/officeart/2005/8/layout/list1"/>
    <dgm:cxn modelId="{C1F28C6E-BBD1-4BAB-884A-6C18F8D097D7}" type="presParOf" srcId="{BC125C4C-78D4-4F5A-9A62-018A3C266535}" destId="{F23A4A5F-3279-4844-9F37-797736070D7C}" srcOrd="1" destOrd="0" presId="urn:microsoft.com/office/officeart/2005/8/layout/list1"/>
    <dgm:cxn modelId="{4E274685-5756-4F3D-978B-7E028FF05907}" type="presParOf" srcId="{64A981D5-9374-4FCA-A8F4-00E474ED1576}" destId="{04DE1379-AA20-4E15-9D9C-DC1A97877584}" srcOrd="9" destOrd="0" presId="urn:microsoft.com/office/officeart/2005/8/layout/list1"/>
    <dgm:cxn modelId="{289006B7-C8DB-491F-A121-1D411387C74F}" type="presParOf" srcId="{64A981D5-9374-4FCA-A8F4-00E474ED1576}" destId="{416B9D5B-018B-4AD8-95F9-F3A46DF79AF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63F71EF-B9E6-4E1F-AC2A-22D3BEEE869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2C2768-94F8-43A2-A56D-04501D9120D1}">
      <dgm:prSet/>
      <dgm:spPr/>
      <dgm:t>
        <a:bodyPr/>
        <a:lstStyle/>
        <a:p>
          <a:r>
            <a:rPr lang="en-US"/>
            <a:t>In Azure portal, go to: Subscriptions &gt; select the subscription &gt; resource providers &gt; filter by the word “marketplace” &gt; make sure all three results are enabled for Azure Marketplace.</a:t>
          </a:r>
        </a:p>
      </dgm:t>
    </dgm:pt>
    <dgm:pt modelId="{47922895-F38F-49CD-B260-39531D1EAC94}" type="parTrans" cxnId="{6B158961-54F4-4EA2-9EFA-9C5FFC219CDC}">
      <dgm:prSet/>
      <dgm:spPr/>
      <dgm:t>
        <a:bodyPr/>
        <a:lstStyle/>
        <a:p>
          <a:endParaRPr lang="en-US"/>
        </a:p>
      </dgm:t>
    </dgm:pt>
    <dgm:pt modelId="{CF5ADCAA-71DF-469E-A5A0-8104F9D1C849}" type="sibTrans" cxnId="{6B158961-54F4-4EA2-9EFA-9C5FFC219CDC}">
      <dgm:prSet/>
      <dgm:spPr/>
      <dgm:t>
        <a:bodyPr/>
        <a:lstStyle/>
        <a:p>
          <a:endParaRPr lang="en-US"/>
        </a:p>
      </dgm:t>
    </dgm:pt>
    <dgm:pt modelId="{EEE75EB5-BC23-4D3D-BEDD-72A78D015E71}">
      <dgm:prSet/>
      <dgm:spPr/>
      <dgm:t>
        <a:bodyPr/>
        <a:lstStyle/>
        <a:p>
          <a:r>
            <a:rPr lang="en-US"/>
            <a:t>To find your billing account permissions, go to the Azure portal and select Cost Management &amp; Billing &gt; Billing Scopes &gt; (select the billing account you want) &gt; Access Management (IAM).</a:t>
          </a:r>
        </a:p>
      </dgm:t>
    </dgm:pt>
    <dgm:pt modelId="{98CE6B8D-3909-43F8-B710-970F6C3A3943}" type="parTrans" cxnId="{04D81072-989C-4D71-B512-3FC88FC2C7BB}">
      <dgm:prSet/>
      <dgm:spPr/>
      <dgm:t>
        <a:bodyPr/>
        <a:lstStyle/>
        <a:p>
          <a:endParaRPr lang="en-US"/>
        </a:p>
      </dgm:t>
    </dgm:pt>
    <dgm:pt modelId="{1A7A80EF-A58E-4564-9DFF-E985361915AA}" type="sibTrans" cxnId="{04D81072-989C-4D71-B512-3FC88FC2C7BB}">
      <dgm:prSet/>
      <dgm:spPr/>
      <dgm:t>
        <a:bodyPr/>
        <a:lstStyle/>
        <a:p>
          <a:endParaRPr lang="en-US"/>
        </a:p>
      </dgm:t>
    </dgm:pt>
    <dgm:pt modelId="{C0CD377A-CA32-4C9E-93A9-493B14EC4660}">
      <dgm:prSet/>
      <dgm:spPr/>
      <dgm:t>
        <a:bodyPr/>
        <a:lstStyle/>
        <a:p>
          <a:r>
            <a:rPr lang="en-US"/>
            <a:t>If you don't see the billing account you're looking for, it means you don't have permission to it (including read-only permissions). To learn more, see Billing accounts and scopes in the Azure portal.</a:t>
          </a:r>
        </a:p>
      </dgm:t>
    </dgm:pt>
    <dgm:pt modelId="{D8F6D083-14CA-490E-ABC8-94B9D7A00888}" type="parTrans" cxnId="{1079250A-A6FE-4369-A51E-F7D9FF379212}">
      <dgm:prSet/>
      <dgm:spPr/>
      <dgm:t>
        <a:bodyPr/>
        <a:lstStyle/>
        <a:p>
          <a:endParaRPr lang="en-US"/>
        </a:p>
      </dgm:t>
    </dgm:pt>
    <dgm:pt modelId="{FD59DB9E-5FB5-4B7B-ABD5-834BFB8AF7FE}" type="sibTrans" cxnId="{1079250A-A6FE-4369-A51E-F7D9FF379212}">
      <dgm:prSet/>
      <dgm:spPr/>
      <dgm:t>
        <a:bodyPr/>
        <a:lstStyle/>
        <a:p>
          <a:endParaRPr lang="en-US"/>
        </a:p>
      </dgm:t>
    </dgm:pt>
    <dgm:pt modelId="{38834E6C-939B-4C68-881A-D99A8C0D14B8}">
      <dgm:prSet/>
      <dgm:spPr/>
      <dgm:t>
        <a:bodyPr/>
        <a:lstStyle/>
        <a:p>
          <a:r>
            <a:rPr lang="en-US" dirty="0"/>
            <a:t>To find if you can register third-party applications via SSO, check on </a:t>
          </a:r>
          <a:r>
            <a:rPr lang="en-US" dirty="0" err="1"/>
            <a:t>Entra</a:t>
          </a:r>
          <a:r>
            <a:rPr lang="en-US" dirty="0"/>
            <a:t> ID (Azure AD) menu that users can register applications (Activating your SaaS service requires SSO permissions to third party apps)</a:t>
          </a:r>
        </a:p>
      </dgm:t>
    </dgm:pt>
    <dgm:pt modelId="{00311A1E-646B-4C1F-8716-CC5183456368}" type="parTrans" cxnId="{9AB2DD4C-3BA9-4B95-8562-93607AE8A9E4}">
      <dgm:prSet/>
      <dgm:spPr/>
      <dgm:t>
        <a:bodyPr/>
        <a:lstStyle/>
        <a:p>
          <a:endParaRPr lang="en-US"/>
        </a:p>
      </dgm:t>
    </dgm:pt>
    <dgm:pt modelId="{23CF05F7-9D00-4D40-B29C-C47D41BE992B}" type="sibTrans" cxnId="{9AB2DD4C-3BA9-4B95-8562-93607AE8A9E4}">
      <dgm:prSet/>
      <dgm:spPr/>
      <dgm:t>
        <a:bodyPr/>
        <a:lstStyle/>
        <a:p>
          <a:endParaRPr lang="en-US"/>
        </a:p>
      </dgm:t>
    </dgm:pt>
    <dgm:pt modelId="{61FE7543-30AA-4B58-BD8E-13506D1AA670}" type="pres">
      <dgm:prSet presAssocID="{163F71EF-B9E6-4E1F-AC2A-22D3BEEE869B}" presName="root" presStyleCnt="0">
        <dgm:presLayoutVars>
          <dgm:dir/>
          <dgm:resizeHandles val="exact"/>
        </dgm:presLayoutVars>
      </dgm:prSet>
      <dgm:spPr/>
    </dgm:pt>
    <dgm:pt modelId="{34D98849-A8EC-4512-9D1D-EA7564BB3D55}" type="pres">
      <dgm:prSet presAssocID="{BE2C2768-94F8-43A2-A56D-04501D9120D1}" presName="compNode" presStyleCnt="0"/>
      <dgm:spPr/>
    </dgm:pt>
    <dgm:pt modelId="{3BC6D9BC-D594-49A2-97F6-C14799756212}" type="pres">
      <dgm:prSet presAssocID="{BE2C2768-94F8-43A2-A56D-04501D9120D1}" presName="bgRect" presStyleLbl="bgShp" presStyleIdx="0" presStyleCnt="4"/>
      <dgm:spPr>
        <a:solidFill>
          <a:schemeClr val="accent2">
            <a:lumMod val="60000"/>
            <a:lumOff val="40000"/>
          </a:schemeClr>
        </a:solidFill>
      </dgm:spPr>
    </dgm:pt>
    <dgm:pt modelId="{1C921374-3434-44A4-90B0-7394D130E2D5}" type="pres">
      <dgm:prSet presAssocID="{BE2C2768-94F8-43A2-A56D-04501D9120D1}"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ilter"/>
        </a:ext>
      </dgm:extLst>
    </dgm:pt>
    <dgm:pt modelId="{F6CB4FB4-5B4B-4777-9937-FCBDDD6F3905}" type="pres">
      <dgm:prSet presAssocID="{BE2C2768-94F8-43A2-A56D-04501D9120D1}" presName="spaceRect" presStyleCnt="0"/>
      <dgm:spPr/>
    </dgm:pt>
    <dgm:pt modelId="{1ECBF556-0D7C-496E-88C2-E002786B84B4}" type="pres">
      <dgm:prSet presAssocID="{BE2C2768-94F8-43A2-A56D-04501D9120D1}" presName="parTx" presStyleLbl="revTx" presStyleIdx="0" presStyleCnt="4">
        <dgm:presLayoutVars>
          <dgm:chMax val="0"/>
          <dgm:chPref val="0"/>
        </dgm:presLayoutVars>
      </dgm:prSet>
      <dgm:spPr/>
    </dgm:pt>
    <dgm:pt modelId="{C3329EAF-115F-4BB2-8683-E88890DC87B7}" type="pres">
      <dgm:prSet presAssocID="{CF5ADCAA-71DF-469E-A5A0-8104F9D1C849}" presName="sibTrans" presStyleCnt="0"/>
      <dgm:spPr/>
    </dgm:pt>
    <dgm:pt modelId="{8AC63139-DD7B-49C1-BB9F-C7FFEDB608EF}" type="pres">
      <dgm:prSet presAssocID="{EEE75EB5-BC23-4D3D-BEDD-72A78D015E71}" presName="compNode" presStyleCnt="0"/>
      <dgm:spPr/>
    </dgm:pt>
    <dgm:pt modelId="{63CA4B60-F8C6-41C8-8716-CA007D869189}" type="pres">
      <dgm:prSet presAssocID="{EEE75EB5-BC23-4D3D-BEDD-72A78D015E71}" presName="bgRect" presStyleLbl="bgShp" presStyleIdx="1" presStyleCnt="4"/>
      <dgm:spPr>
        <a:solidFill>
          <a:schemeClr val="accent2">
            <a:lumMod val="60000"/>
            <a:lumOff val="40000"/>
          </a:schemeClr>
        </a:solidFill>
      </dgm:spPr>
    </dgm:pt>
    <dgm:pt modelId="{C95DB5FA-1F17-46B1-86BC-9E3E95817252}" type="pres">
      <dgm:prSet presAssocID="{EEE75EB5-BC23-4D3D-BEDD-72A78D015E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formation"/>
        </a:ext>
      </dgm:extLst>
    </dgm:pt>
    <dgm:pt modelId="{36265DE2-E35E-442B-A9FB-D4B6E38D7C28}" type="pres">
      <dgm:prSet presAssocID="{EEE75EB5-BC23-4D3D-BEDD-72A78D015E71}" presName="spaceRect" presStyleCnt="0"/>
      <dgm:spPr/>
    </dgm:pt>
    <dgm:pt modelId="{2F057E3F-FBBF-4E63-8B0E-9CB7DB4A0626}" type="pres">
      <dgm:prSet presAssocID="{EEE75EB5-BC23-4D3D-BEDD-72A78D015E71}" presName="parTx" presStyleLbl="revTx" presStyleIdx="1" presStyleCnt="4">
        <dgm:presLayoutVars>
          <dgm:chMax val="0"/>
          <dgm:chPref val="0"/>
        </dgm:presLayoutVars>
      </dgm:prSet>
      <dgm:spPr/>
    </dgm:pt>
    <dgm:pt modelId="{D9D1F2D4-561C-4DF6-AA39-FB02AA471B1A}" type="pres">
      <dgm:prSet presAssocID="{1A7A80EF-A58E-4564-9DFF-E985361915AA}" presName="sibTrans" presStyleCnt="0"/>
      <dgm:spPr/>
    </dgm:pt>
    <dgm:pt modelId="{F6179E35-B45C-4AC9-8419-42F707F085C0}" type="pres">
      <dgm:prSet presAssocID="{C0CD377A-CA32-4C9E-93A9-493B14EC4660}" presName="compNode" presStyleCnt="0"/>
      <dgm:spPr/>
    </dgm:pt>
    <dgm:pt modelId="{686572CC-AF7A-44B7-B838-130EA4B7245B}" type="pres">
      <dgm:prSet presAssocID="{C0CD377A-CA32-4C9E-93A9-493B14EC4660}" presName="bgRect" presStyleLbl="bgShp" presStyleIdx="2" presStyleCnt="4"/>
      <dgm:spPr>
        <a:solidFill>
          <a:schemeClr val="accent2">
            <a:lumMod val="60000"/>
            <a:lumOff val="40000"/>
          </a:schemeClr>
        </a:solidFill>
      </dgm:spPr>
    </dgm:pt>
    <dgm:pt modelId="{0CD868EC-EE32-475D-8542-567FC0023D53}" type="pres">
      <dgm:prSet presAssocID="{C0CD377A-CA32-4C9E-93A9-493B14EC466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D4C1A085-1FB7-40C8-A23E-CE0E4289D5FD}" type="pres">
      <dgm:prSet presAssocID="{C0CD377A-CA32-4C9E-93A9-493B14EC4660}" presName="spaceRect" presStyleCnt="0"/>
      <dgm:spPr/>
    </dgm:pt>
    <dgm:pt modelId="{FC3DE67C-4ECC-4EFC-9242-181B62B20B64}" type="pres">
      <dgm:prSet presAssocID="{C0CD377A-CA32-4C9E-93A9-493B14EC4660}" presName="parTx" presStyleLbl="revTx" presStyleIdx="2" presStyleCnt="4">
        <dgm:presLayoutVars>
          <dgm:chMax val="0"/>
          <dgm:chPref val="0"/>
        </dgm:presLayoutVars>
      </dgm:prSet>
      <dgm:spPr/>
    </dgm:pt>
    <dgm:pt modelId="{D126484C-16EF-4DBB-89C2-0BA22C9C2025}" type="pres">
      <dgm:prSet presAssocID="{FD59DB9E-5FB5-4B7B-ABD5-834BFB8AF7FE}" presName="sibTrans" presStyleCnt="0"/>
      <dgm:spPr/>
    </dgm:pt>
    <dgm:pt modelId="{49ED04DA-C58B-45D0-B7F3-6D3572B905CB}" type="pres">
      <dgm:prSet presAssocID="{38834E6C-939B-4C68-881A-D99A8C0D14B8}" presName="compNode" presStyleCnt="0"/>
      <dgm:spPr/>
    </dgm:pt>
    <dgm:pt modelId="{9AD606DB-863A-4EB8-8DA7-881F8AF4E8B3}" type="pres">
      <dgm:prSet presAssocID="{38834E6C-939B-4C68-881A-D99A8C0D14B8}" presName="bgRect" presStyleLbl="bgShp" presStyleIdx="3" presStyleCnt="4"/>
      <dgm:spPr>
        <a:solidFill>
          <a:schemeClr val="accent2">
            <a:lumMod val="60000"/>
            <a:lumOff val="40000"/>
          </a:schemeClr>
        </a:solidFill>
      </dgm:spPr>
    </dgm:pt>
    <dgm:pt modelId="{2E50BE81-51C7-4DD6-A7C2-5B00583819D8}" type="pres">
      <dgm:prSet presAssocID="{38834E6C-939B-4C68-881A-D99A8C0D14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erver"/>
        </a:ext>
      </dgm:extLst>
    </dgm:pt>
    <dgm:pt modelId="{865CB04E-123B-40FC-B92D-28C2B8C827D2}" type="pres">
      <dgm:prSet presAssocID="{38834E6C-939B-4C68-881A-D99A8C0D14B8}" presName="spaceRect" presStyleCnt="0"/>
      <dgm:spPr/>
    </dgm:pt>
    <dgm:pt modelId="{3FB9BD47-0F23-421E-B830-2B25D95CEE3C}" type="pres">
      <dgm:prSet presAssocID="{38834E6C-939B-4C68-881A-D99A8C0D14B8}" presName="parTx" presStyleLbl="revTx" presStyleIdx="3" presStyleCnt="4">
        <dgm:presLayoutVars>
          <dgm:chMax val="0"/>
          <dgm:chPref val="0"/>
        </dgm:presLayoutVars>
      </dgm:prSet>
      <dgm:spPr/>
    </dgm:pt>
  </dgm:ptLst>
  <dgm:cxnLst>
    <dgm:cxn modelId="{4D1C9B06-2E60-4511-922C-0663B312365F}" type="presOf" srcId="{BE2C2768-94F8-43A2-A56D-04501D9120D1}" destId="{1ECBF556-0D7C-496E-88C2-E002786B84B4}" srcOrd="0" destOrd="0" presId="urn:microsoft.com/office/officeart/2018/2/layout/IconVerticalSolidList"/>
    <dgm:cxn modelId="{CF8A1708-A3FE-4FFE-A539-0A33F3461513}" type="presOf" srcId="{EEE75EB5-BC23-4D3D-BEDD-72A78D015E71}" destId="{2F057E3F-FBBF-4E63-8B0E-9CB7DB4A0626}" srcOrd="0" destOrd="0" presId="urn:microsoft.com/office/officeart/2018/2/layout/IconVerticalSolidList"/>
    <dgm:cxn modelId="{1079250A-A6FE-4369-A51E-F7D9FF379212}" srcId="{163F71EF-B9E6-4E1F-AC2A-22D3BEEE869B}" destId="{C0CD377A-CA32-4C9E-93A9-493B14EC4660}" srcOrd="2" destOrd="0" parTransId="{D8F6D083-14CA-490E-ABC8-94B9D7A00888}" sibTransId="{FD59DB9E-5FB5-4B7B-ABD5-834BFB8AF7FE}"/>
    <dgm:cxn modelId="{6B158961-54F4-4EA2-9EFA-9C5FFC219CDC}" srcId="{163F71EF-B9E6-4E1F-AC2A-22D3BEEE869B}" destId="{BE2C2768-94F8-43A2-A56D-04501D9120D1}" srcOrd="0" destOrd="0" parTransId="{47922895-F38F-49CD-B260-39531D1EAC94}" sibTransId="{CF5ADCAA-71DF-469E-A5A0-8104F9D1C849}"/>
    <dgm:cxn modelId="{9CEF9962-3705-4FAD-8331-BA36007AE0F6}" type="presOf" srcId="{163F71EF-B9E6-4E1F-AC2A-22D3BEEE869B}" destId="{61FE7543-30AA-4B58-BD8E-13506D1AA670}" srcOrd="0" destOrd="0" presId="urn:microsoft.com/office/officeart/2018/2/layout/IconVerticalSolidList"/>
    <dgm:cxn modelId="{9AB2DD4C-3BA9-4B95-8562-93607AE8A9E4}" srcId="{163F71EF-B9E6-4E1F-AC2A-22D3BEEE869B}" destId="{38834E6C-939B-4C68-881A-D99A8C0D14B8}" srcOrd="3" destOrd="0" parTransId="{00311A1E-646B-4C1F-8716-CC5183456368}" sibTransId="{23CF05F7-9D00-4D40-B29C-C47D41BE992B}"/>
    <dgm:cxn modelId="{13AB4950-B37B-4B5D-9F3C-6FB5E5D32AF9}" type="presOf" srcId="{38834E6C-939B-4C68-881A-D99A8C0D14B8}" destId="{3FB9BD47-0F23-421E-B830-2B25D95CEE3C}" srcOrd="0" destOrd="0" presId="urn:microsoft.com/office/officeart/2018/2/layout/IconVerticalSolidList"/>
    <dgm:cxn modelId="{04D81072-989C-4D71-B512-3FC88FC2C7BB}" srcId="{163F71EF-B9E6-4E1F-AC2A-22D3BEEE869B}" destId="{EEE75EB5-BC23-4D3D-BEDD-72A78D015E71}" srcOrd="1" destOrd="0" parTransId="{98CE6B8D-3909-43F8-B710-970F6C3A3943}" sibTransId="{1A7A80EF-A58E-4564-9DFF-E985361915AA}"/>
    <dgm:cxn modelId="{87BBD8FA-E279-4139-853E-4517C685F5FA}" type="presOf" srcId="{C0CD377A-CA32-4C9E-93A9-493B14EC4660}" destId="{FC3DE67C-4ECC-4EFC-9242-181B62B20B64}" srcOrd="0" destOrd="0" presId="urn:microsoft.com/office/officeart/2018/2/layout/IconVerticalSolidList"/>
    <dgm:cxn modelId="{F7CCF272-ABE8-4194-B555-329475AB215D}" type="presParOf" srcId="{61FE7543-30AA-4B58-BD8E-13506D1AA670}" destId="{34D98849-A8EC-4512-9D1D-EA7564BB3D55}" srcOrd="0" destOrd="0" presId="urn:microsoft.com/office/officeart/2018/2/layout/IconVerticalSolidList"/>
    <dgm:cxn modelId="{A96BC51B-EF0F-4AC3-90A6-52019B1287E2}" type="presParOf" srcId="{34D98849-A8EC-4512-9D1D-EA7564BB3D55}" destId="{3BC6D9BC-D594-49A2-97F6-C14799756212}" srcOrd="0" destOrd="0" presId="urn:microsoft.com/office/officeart/2018/2/layout/IconVerticalSolidList"/>
    <dgm:cxn modelId="{44F7DE2C-96D6-4A8C-8A2C-FDAF535074E1}" type="presParOf" srcId="{34D98849-A8EC-4512-9D1D-EA7564BB3D55}" destId="{1C921374-3434-44A4-90B0-7394D130E2D5}" srcOrd="1" destOrd="0" presId="urn:microsoft.com/office/officeart/2018/2/layout/IconVerticalSolidList"/>
    <dgm:cxn modelId="{33EDAA1D-AB7E-4BF2-8A40-1D3E661A4DCD}" type="presParOf" srcId="{34D98849-A8EC-4512-9D1D-EA7564BB3D55}" destId="{F6CB4FB4-5B4B-4777-9937-FCBDDD6F3905}" srcOrd="2" destOrd="0" presId="urn:microsoft.com/office/officeart/2018/2/layout/IconVerticalSolidList"/>
    <dgm:cxn modelId="{69FD8A73-D227-47BB-8232-93D258C1F759}" type="presParOf" srcId="{34D98849-A8EC-4512-9D1D-EA7564BB3D55}" destId="{1ECBF556-0D7C-496E-88C2-E002786B84B4}" srcOrd="3" destOrd="0" presId="urn:microsoft.com/office/officeart/2018/2/layout/IconVerticalSolidList"/>
    <dgm:cxn modelId="{E41D5E10-9FD4-452F-B467-03A385A8C3AE}" type="presParOf" srcId="{61FE7543-30AA-4B58-BD8E-13506D1AA670}" destId="{C3329EAF-115F-4BB2-8683-E88890DC87B7}" srcOrd="1" destOrd="0" presId="urn:microsoft.com/office/officeart/2018/2/layout/IconVerticalSolidList"/>
    <dgm:cxn modelId="{390981C0-3FB5-487D-A4BE-8F903FD8E582}" type="presParOf" srcId="{61FE7543-30AA-4B58-BD8E-13506D1AA670}" destId="{8AC63139-DD7B-49C1-BB9F-C7FFEDB608EF}" srcOrd="2" destOrd="0" presId="urn:microsoft.com/office/officeart/2018/2/layout/IconVerticalSolidList"/>
    <dgm:cxn modelId="{464F8749-BABB-4B64-8081-2DFEFCA82092}" type="presParOf" srcId="{8AC63139-DD7B-49C1-BB9F-C7FFEDB608EF}" destId="{63CA4B60-F8C6-41C8-8716-CA007D869189}" srcOrd="0" destOrd="0" presId="urn:microsoft.com/office/officeart/2018/2/layout/IconVerticalSolidList"/>
    <dgm:cxn modelId="{30D21092-CA7F-45CD-B16D-49F5AA9827B6}" type="presParOf" srcId="{8AC63139-DD7B-49C1-BB9F-C7FFEDB608EF}" destId="{C95DB5FA-1F17-46B1-86BC-9E3E95817252}" srcOrd="1" destOrd="0" presId="urn:microsoft.com/office/officeart/2018/2/layout/IconVerticalSolidList"/>
    <dgm:cxn modelId="{0423CDDD-218E-474C-BEA5-030D94114C7D}" type="presParOf" srcId="{8AC63139-DD7B-49C1-BB9F-C7FFEDB608EF}" destId="{36265DE2-E35E-442B-A9FB-D4B6E38D7C28}" srcOrd="2" destOrd="0" presId="urn:microsoft.com/office/officeart/2018/2/layout/IconVerticalSolidList"/>
    <dgm:cxn modelId="{ABC04AF6-FC01-462E-B117-6971022E9CA4}" type="presParOf" srcId="{8AC63139-DD7B-49C1-BB9F-C7FFEDB608EF}" destId="{2F057E3F-FBBF-4E63-8B0E-9CB7DB4A0626}" srcOrd="3" destOrd="0" presId="urn:microsoft.com/office/officeart/2018/2/layout/IconVerticalSolidList"/>
    <dgm:cxn modelId="{0B9EE71A-5E67-4F67-B3A3-67A0106B6366}" type="presParOf" srcId="{61FE7543-30AA-4B58-BD8E-13506D1AA670}" destId="{D9D1F2D4-561C-4DF6-AA39-FB02AA471B1A}" srcOrd="3" destOrd="0" presId="urn:microsoft.com/office/officeart/2018/2/layout/IconVerticalSolidList"/>
    <dgm:cxn modelId="{BB9710CE-43DD-4072-84EC-20809B087AE4}" type="presParOf" srcId="{61FE7543-30AA-4B58-BD8E-13506D1AA670}" destId="{F6179E35-B45C-4AC9-8419-42F707F085C0}" srcOrd="4" destOrd="0" presId="urn:microsoft.com/office/officeart/2018/2/layout/IconVerticalSolidList"/>
    <dgm:cxn modelId="{F3C8E5F2-9B69-4085-B58A-B8946290770D}" type="presParOf" srcId="{F6179E35-B45C-4AC9-8419-42F707F085C0}" destId="{686572CC-AF7A-44B7-B838-130EA4B7245B}" srcOrd="0" destOrd="0" presId="urn:microsoft.com/office/officeart/2018/2/layout/IconVerticalSolidList"/>
    <dgm:cxn modelId="{F34DD08D-8DE8-4E58-BC88-584410AC582D}" type="presParOf" srcId="{F6179E35-B45C-4AC9-8419-42F707F085C0}" destId="{0CD868EC-EE32-475D-8542-567FC0023D53}" srcOrd="1" destOrd="0" presId="urn:microsoft.com/office/officeart/2018/2/layout/IconVerticalSolidList"/>
    <dgm:cxn modelId="{85E7EC23-127E-436D-BE0F-F9DFF7A933E3}" type="presParOf" srcId="{F6179E35-B45C-4AC9-8419-42F707F085C0}" destId="{D4C1A085-1FB7-40C8-A23E-CE0E4289D5FD}" srcOrd="2" destOrd="0" presId="urn:microsoft.com/office/officeart/2018/2/layout/IconVerticalSolidList"/>
    <dgm:cxn modelId="{C6227506-DB88-4B32-A172-E30F38928B54}" type="presParOf" srcId="{F6179E35-B45C-4AC9-8419-42F707F085C0}" destId="{FC3DE67C-4ECC-4EFC-9242-181B62B20B64}" srcOrd="3" destOrd="0" presId="urn:microsoft.com/office/officeart/2018/2/layout/IconVerticalSolidList"/>
    <dgm:cxn modelId="{8080EA2E-6B42-4914-B290-0166E4B619BA}" type="presParOf" srcId="{61FE7543-30AA-4B58-BD8E-13506D1AA670}" destId="{D126484C-16EF-4DBB-89C2-0BA22C9C2025}" srcOrd="5" destOrd="0" presId="urn:microsoft.com/office/officeart/2018/2/layout/IconVerticalSolidList"/>
    <dgm:cxn modelId="{C8C7BD4A-F25E-4017-B9AF-8E5B2B95B3C0}" type="presParOf" srcId="{61FE7543-30AA-4B58-BD8E-13506D1AA670}" destId="{49ED04DA-C58B-45D0-B7F3-6D3572B905CB}" srcOrd="6" destOrd="0" presId="urn:microsoft.com/office/officeart/2018/2/layout/IconVerticalSolidList"/>
    <dgm:cxn modelId="{1B9D5FF0-EF40-4613-A62D-245938AD77D0}" type="presParOf" srcId="{49ED04DA-C58B-45D0-B7F3-6D3572B905CB}" destId="{9AD606DB-863A-4EB8-8DA7-881F8AF4E8B3}" srcOrd="0" destOrd="0" presId="urn:microsoft.com/office/officeart/2018/2/layout/IconVerticalSolidList"/>
    <dgm:cxn modelId="{C58A8AB8-EB0C-4657-973A-5AD2C7B94491}" type="presParOf" srcId="{49ED04DA-C58B-45D0-B7F3-6D3572B905CB}" destId="{2E50BE81-51C7-4DD6-A7C2-5B00583819D8}" srcOrd="1" destOrd="0" presId="urn:microsoft.com/office/officeart/2018/2/layout/IconVerticalSolidList"/>
    <dgm:cxn modelId="{338C835B-CC04-4B58-9364-B58C8F9190A1}" type="presParOf" srcId="{49ED04DA-C58B-45D0-B7F3-6D3572B905CB}" destId="{865CB04E-123B-40FC-B92D-28C2B8C827D2}" srcOrd="2" destOrd="0" presId="urn:microsoft.com/office/officeart/2018/2/layout/IconVerticalSolidList"/>
    <dgm:cxn modelId="{1BBCB4F2-2E10-42A5-80AD-28566995DDC1}" type="presParOf" srcId="{49ED04DA-C58B-45D0-B7F3-6D3572B905CB}" destId="{3FB9BD47-0F23-421E-B830-2B25D95CEE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64C2B61-EEBB-4B3C-9976-93B80A2307F8}"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2E7446D6-C7BA-44E1-9708-0D01C3E92BD9}">
      <dgm:prSet/>
      <dgm:spPr/>
      <dgm:t>
        <a:bodyPr/>
        <a:lstStyle/>
        <a:p>
          <a:pPr>
            <a:defRPr cap="all"/>
          </a:pPr>
          <a:r>
            <a:rPr lang="en-US" baseline="0" dirty="0"/>
            <a:t>Access to the Marketplace requires Proper Azure Credentials</a:t>
          </a:r>
          <a:endParaRPr lang="en-US" dirty="0"/>
        </a:p>
      </dgm:t>
    </dgm:pt>
    <dgm:pt modelId="{BD606203-DC99-4F9F-8EAF-69DE36CDC4C9}" type="parTrans" cxnId="{27645E20-0A34-457F-899B-E17336D39E18}">
      <dgm:prSet/>
      <dgm:spPr/>
      <dgm:t>
        <a:bodyPr/>
        <a:lstStyle/>
        <a:p>
          <a:endParaRPr lang="en-US"/>
        </a:p>
      </dgm:t>
    </dgm:pt>
    <dgm:pt modelId="{B5953AB4-794C-4EF0-B484-534E5D58BB72}" type="sibTrans" cxnId="{27645E20-0A34-457F-899B-E17336D39E18}">
      <dgm:prSet/>
      <dgm:spPr/>
      <dgm:t>
        <a:bodyPr/>
        <a:lstStyle/>
        <a:p>
          <a:endParaRPr lang="en-US"/>
        </a:p>
      </dgm:t>
    </dgm:pt>
    <dgm:pt modelId="{EFB3A3B2-423D-484E-A149-379E9FC18548}">
      <dgm:prSet/>
      <dgm:spPr/>
      <dgm:t>
        <a:bodyPr/>
        <a:lstStyle/>
        <a:p>
          <a:pPr>
            <a:defRPr cap="all"/>
          </a:pPr>
          <a:r>
            <a:rPr lang="en-US" baseline="0"/>
            <a:t>Provides SSO for users</a:t>
          </a:r>
          <a:endParaRPr lang="en-US"/>
        </a:p>
      </dgm:t>
    </dgm:pt>
    <dgm:pt modelId="{073120C8-1FAE-4150-BDCC-89C7BCC6F6D1}" type="parTrans" cxnId="{CC61604C-189C-408F-A7A8-D9B0E42AA29E}">
      <dgm:prSet/>
      <dgm:spPr/>
      <dgm:t>
        <a:bodyPr/>
        <a:lstStyle/>
        <a:p>
          <a:endParaRPr lang="en-US"/>
        </a:p>
      </dgm:t>
    </dgm:pt>
    <dgm:pt modelId="{B47A5B7E-2EC0-4A4B-8B07-2FB63F0D4FDF}" type="sibTrans" cxnId="{CC61604C-189C-408F-A7A8-D9B0E42AA29E}">
      <dgm:prSet/>
      <dgm:spPr/>
      <dgm:t>
        <a:bodyPr/>
        <a:lstStyle/>
        <a:p>
          <a:endParaRPr lang="en-US"/>
        </a:p>
      </dgm:t>
    </dgm:pt>
    <dgm:pt modelId="{6B036628-9C58-440B-B661-999914C05E21}">
      <dgm:prSet/>
      <dgm:spPr/>
      <dgm:t>
        <a:bodyPr/>
        <a:lstStyle/>
        <a:p>
          <a:pPr>
            <a:defRPr cap="all"/>
          </a:pPr>
          <a:r>
            <a:rPr lang="en-US" baseline="0" dirty="0"/>
            <a:t>Allows users to login through SSO to Procurement systems</a:t>
          </a:r>
          <a:endParaRPr lang="en-US" dirty="0"/>
        </a:p>
      </dgm:t>
    </dgm:pt>
    <dgm:pt modelId="{15DE994C-E9E4-4009-8BC8-CD000420D30B}" type="parTrans" cxnId="{6CAE884D-1D5E-4372-A684-D7923031A930}">
      <dgm:prSet/>
      <dgm:spPr/>
      <dgm:t>
        <a:bodyPr/>
        <a:lstStyle/>
        <a:p>
          <a:endParaRPr lang="en-US"/>
        </a:p>
      </dgm:t>
    </dgm:pt>
    <dgm:pt modelId="{BD775361-7204-4E8A-AA2C-D40FD0224A71}" type="sibTrans" cxnId="{6CAE884D-1D5E-4372-A684-D7923031A930}">
      <dgm:prSet/>
      <dgm:spPr/>
      <dgm:t>
        <a:bodyPr/>
        <a:lstStyle/>
        <a:p>
          <a:endParaRPr lang="en-US"/>
        </a:p>
      </dgm:t>
    </dgm:pt>
    <dgm:pt modelId="{A1920D4E-34DF-45D5-9E58-5D816DA1FA2C}">
      <dgm:prSet/>
      <dgm:spPr/>
      <dgm:t>
        <a:bodyPr/>
        <a:lstStyle/>
        <a:p>
          <a:pPr>
            <a:defRPr cap="all"/>
          </a:pPr>
          <a:r>
            <a:rPr lang="en-US" baseline="0"/>
            <a:t>User governance for access to Marketplace</a:t>
          </a:r>
          <a:endParaRPr lang="en-US"/>
        </a:p>
      </dgm:t>
    </dgm:pt>
    <dgm:pt modelId="{8FFDC28D-DF3E-4B75-8225-0BCBF2A4635F}" type="parTrans" cxnId="{F65D0A69-1A32-4245-A654-8515A0B343DE}">
      <dgm:prSet/>
      <dgm:spPr/>
      <dgm:t>
        <a:bodyPr/>
        <a:lstStyle/>
        <a:p>
          <a:endParaRPr lang="en-US"/>
        </a:p>
      </dgm:t>
    </dgm:pt>
    <dgm:pt modelId="{2895EDC5-2567-467C-917A-031E8A259C13}" type="sibTrans" cxnId="{F65D0A69-1A32-4245-A654-8515A0B343DE}">
      <dgm:prSet/>
      <dgm:spPr/>
      <dgm:t>
        <a:bodyPr/>
        <a:lstStyle/>
        <a:p>
          <a:endParaRPr lang="en-US"/>
        </a:p>
      </dgm:t>
    </dgm:pt>
    <dgm:pt modelId="{7F3968B9-1CB9-42EF-B76A-B306FDFCEFFB}" type="pres">
      <dgm:prSet presAssocID="{A64C2B61-EEBB-4B3C-9976-93B80A2307F8}" presName="root" presStyleCnt="0">
        <dgm:presLayoutVars>
          <dgm:dir/>
          <dgm:resizeHandles val="exact"/>
        </dgm:presLayoutVars>
      </dgm:prSet>
      <dgm:spPr/>
    </dgm:pt>
    <dgm:pt modelId="{82C7CACA-B158-491D-95C9-84DA02C093DA}" type="pres">
      <dgm:prSet presAssocID="{2E7446D6-C7BA-44E1-9708-0D01C3E92BD9}" presName="compNode" presStyleCnt="0"/>
      <dgm:spPr/>
    </dgm:pt>
    <dgm:pt modelId="{D02106EA-0AC8-4B5D-983D-94EF5E112A7B}" type="pres">
      <dgm:prSet presAssocID="{2E7446D6-C7BA-44E1-9708-0D01C3E92BD9}" presName="iconBgRect" presStyleLbl="bgShp" presStyleIdx="0" presStyleCnt="4"/>
      <dgm:spPr/>
    </dgm:pt>
    <dgm:pt modelId="{A5434BC8-4479-430A-913B-4E937F5EC312}" type="pres">
      <dgm:prSet presAssocID="{2E7446D6-C7BA-44E1-9708-0D01C3E92BD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5AA937DF-DFD3-4E5A-8074-53AA62511278}" type="pres">
      <dgm:prSet presAssocID="{2E7446D6-C7BA-44E1-9708-0D01C3E92BD9}" presName="spaceRect" presStyleCnt="0"/>
      <dgm:spPr/>
    </dgm:pt>
    <dgm:pt modelId="{B43480CE-2919-417F-BF34-997133081734}" type="pres">
      <dgm:prSet presAssocID="{2E7446D6-C7BA-44E1-9708-0D01C3E92BD9}" presName="textRect" presStyleLbl="revTx" presStyleIdx="0" presStyleCnt="4">
        <dgm:presLayoutVars>
          <dgm:chMax val="1"/>
          <dgm:chPref val="1"/>
        </dgm:presLayoutVars>
      </dgm:prSet>
      <dgm:spPr/>
    </dgm:pt>
    <dgm:pt modelId="{42F487DC-7AB1-4848-A124-98F8DA23F4AC}" type="pres">
      <dgm:prSet presAssocID="{B5953AB4-794C-4EF0-B484-534E5D58BB72}" presName="sibTrans" presStyleCnt="0"/>
      <dgm:spPr/>
    </dgm:pt>
    <dgm:pt modelId="{F28A0B9E-C174-44BC-A7E7-42FFFFE2D2A3}" type="pres">
      <dgm:prSet presAssocID="{EFB3A3B2-423D-484E-A149-379E9FC18548}" presName="compNode" presStyleCnt="0"/>
      <dgm:spPr/>
    </dgm:pt>
    <dgm:pt modelId="{0EB1D68C-8980-4D51-BDDB-EFCB6DF1E2DB}" type="pres">
      <dgm:prSet presAssocID="{EFB3A3B2-423D-484E-A149-379E9FC18548}" presName="iconBgRect" presStyleLbl="bgShp" presStyleIdx="1" presStyleCnt="4"/>
      <dgm:spPr/>
    </dgm:pt>
    <dgm:pt modelId="{4F46459C-42B4-4207-A1E6-E13FF0339821}" type="pres">
      <dgm:prSet presAssocID="{EFB3A3B2-423D-484E-A149-379E9FC1854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81F57A1C-6AA9-4492-81AD-9AFBE26C00E9}" type="pres">
      <dgm:prSet presAssocID="{EFB3A3B2-423D-484E-A149-379E9FC18548}" presName="spaceRect" presStyleCnt="0"/>
      <dgm:spPr/>
    </dgm:pt>
    <dgm:pt modelId="{45F141F5-6920-4C44-AA69-BCB98DA9A01C}" type="pres">
      <dgm:prSet presAssocID="{EFB3A3B2-423D-484E-A149-379E9FC18548}" presName="textRect" presStyleLbl="revTx" presStyleIdx="1" presStyleCnt="4">
        <dgm:presLayoutVars>
          <dgm:chMax val="1"/>
          <dgm:chPref val="1"/>
        </dgm:presLayoutVars>
      </dgm:prSet>
      <dgm:spPr/>
    </dgm:pt>
    <dgm:pt modelId="{87C89F07-2FD5-4F54-A6B3-7C8862D0DBE9}" type="pres">
      <dgm:prSet presAssocID="{B47A5B7E-2EC0-4A4B-8B07-2FB63F0D4FDF}" presName="sibTrans" presStyleCnt="0"/>
      <dgm:spPr/>
    </dgm:pt>
    <dgm:pt modelId="{58889D02-BCD3-456A-B44E-14A16C78282F}" type="pres">
      <dgm:prSet presAssocID="{6B036628-9C58-440B-B661-999914C05E21}" presName="compNode" presStyleCnt="0"/>
      <dgm:spPr/>
    </dgm:pt>
    <dgm:pt modelId="{3393C2F6-81E3-450B-B932-EE5CE1CBB445}" type="pres">
      <dgm:prSet presAssocID="{6B036628-9C58-440B-B661-999914C05E21}" presName="iconBgRect" presStyleLbl="bgShp" presStyleIdx="2" presStyleCnt="4"/>
      <dgm:spPr/>
    </dgm:pt>
    <dgm:pt modelId="{EC0C9BAE-8634-4DEE-AD0A-E80E62775AD7}" type="pres">
      <dgm:prSet presAssocID="{6B036628-9C58-440B-B661-999914C05E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aptop"/>
        </a:ext>
      </dgm:extLst>
    </dgm:pt>
    <dgm:pt modelId="{2E4DCE00-B91F-4237-905E-33818927040E}" type="pres">
      <dgm:prSet presAssocID="{6B036628-9C58-440B-B661-999914C05E21}" presName="spaceRect" presStyleCnt="0"/>
      <dgm:spPr/>
    </dgm:pt>
    <dgm:pt modelId="{66B0C3D6-EED9-4338-BA86-F34F9481DC71}" type="pres">
      <dgm:prSet presAssocID="{6B036628-9C58-440B-B661-999914C05E21}" presName="textRect" presStyleLbl="revTx" presStyleIdx="2" presStyleCnt="4">
        <dgm:presLayoutVars>
          <dgm:chMax val="1"/>
          <dgm:chPref val="1"/>
        </dgm:presLayoutVars>
      </dgm:prSet>
      <dgm:spPr/>
    </dgm:pt>
    <dgm:pt modelId="{E5F73650-00A4-4239-AE29-F71F3989E0B7}" type="pres">
      <dgm:prSet presAssocID="{BD775361-7204-4E8A-AA2C-D40FD0224A71}" presName="sibTrans" presStyleCnt="0"/>
      <dgm:spPr/>
    </dgm:pt>
    <dgm:pt modelId="{BFBB3DBC-F93D-45B9-AD57-371C61D8160F}" type="pres">
      <dgm:prSet presAssocID="{A1920D4E-34DF-45D5-9E58-5D816DA1FA2C}" presName="compNode" presStyleCnt="0"/>
      <dgm:spPr/>
    </dgm:pt>
    <dgm:pt modelId="{305DA574-F90B-41DE-8FB7-F89349DB75DD}" type="pres">
      <dgm:prSet presAssocID="{A1920D4E-34DF-45D5-9E58-5D816DA1FA2C}" presName="iconBgRect" presStyleLbl="bgShp" presStyleIdx="3" presStyleCnt="4"/>
      <dgm:spPr/>
    </dgm:pt>
    <dgm:pt modelId="{88622E50-53E1-4275-B7F2-88D2F91EC132}" type="pres">
      <dgm:prSet presAssocID="{A1920D4E-34DF-45D5-9E58-5D816DA1FA2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7BA9AA5-525C-4177-9AF4-07FFD7453527}" type="pres">
      <dgm:prSet presAssocID="{A1920D4E-34DF-45D5-9E58-5D816DA1FA2C}" presName="spaceRect" presStyleCnt="0"/>
      <dgm:spPr/>
    </dgm:pt>
    <dgm:pt modelId="{30A1736A-6D2A-4C09-BDDA-D08F75FBD65E}" type="pres">
      <dgm:prSet presAssocID="{A1920D4E-34DF-45D5-9E58-5D816DA1FA2C}" presName="textRect" presStyleLbl="revTx" presStyleIdx="3" presStyleCnt="4">
        <dgm:presLayoutVars>
          <dgm:chMax val="1"/>
          <dgm:chPref val="1"/>
        </dgm:presLayoutVars>
      </dgm:prSet>
      <dgm:spPr/>
    </dgm:pt>
  </dgm:ptLst>
  <dgm:cxnLst>
    <dgm:cxn modelId="{27645E20-0A34-457F-899B-E17336D39E18}" srcId="{A64C2B61-EEBB-4B3C-9976-93B80A2307F8}" destId="{2E7446D6-C7BA-44E1-9708-0D01C3E92BD9}" srcOrd="0" destOrd="0" parTransId="{BD606203-DC99-4F9F-8EAF-69DE36CDC4C9}" sibTransId="{B5953AB4-794C-4EF0-B484-534E5D58BB72}"/>
    <dgm:cxn modelId="{F65D0A69-1A32-4245-A654-8515A0B343DE}" srcId="{A64C2B61-EEBB-4B3C-9976-93B80A2307F8}" destId="{A1920D4E-34DF-45D5-9E58-5D816DA1FA2C}" srcOrd="3" destOrd="0" parTransId="{8FFDC28D-DF3E-4B75-8225-0BCBF2A4635F}" sibTransId="{2895EDC5-2567-467C-917A-031E8A259C13}"/>
    <dgm:cxn modelId="{CC61604C-189C-408F-A7A8-D9B0E42AA29E}" srcId="{A64C2B61-EEBB-4B3C-9976-93B80A2307F8}" destId="{EFB3A3B2-423D-484E-A149-379E9FC18548}" srcOrd="1" destOrd="0" parTransId="{073120C8-1FAE-4150-BDCC-89C7BCC6F6D1}" sibTransId="{B47A5B7E-2EC0-4A4B-8B07-2FB63F0D4FDF}"/>
    <dgm:cxn modelId="{6CAE884D-1D5E-4372-A684-D7923031A930}" srcId="{A64C2B61-EEBB-4B3C-9976-93B80A2307F8}" destId="{6B036628-9C58-440B-B661-999914C05E21}" srcOrd="2" destOrd="0" parTransId="{15DE994C-E9E4-4009-8BC8-CD000420D30B}" sibTransId="{BD775361-7204-4E8A-AA2C-D40FD0224A71}"/>
    <dgm:cxn modelId="{E63AC795-75C0-4367-8EBB-B3C8CD6615B7}" type="presOf" srcId="{A1920D4E-34DF-45D5-9E58-5D816DA1FA2C}" destId="{30A1736A-6D2A-4C09-BDDA-D08F75FBD65E}" srcOrd="0" destOrd="0" presId="urn:microsoft.com/office/officeart/2018/5/layout/IconCircleLabelList"/>
    <dgm:cxn modelId="{FC8F3BB1-51CE-4F52-AB17-1FB86113CDCE}" type="presOf" srcId="{6B036628-9C58-440B-B661-999914C05E21}" destId="{66B0C3D6-EED9-4338-BA86-F34F9481DC71}" srcOrd="0" destOrd="0" presId="urn:microsoft.com/office/officeart/2018/5/layout/IconCircleLabelList"/>
    <dgm:cxn modelId="{802D0EC9-E692-4D39-8517-E1884604ADFA}" type="presOf" srcId="{A64C2B61-EEBB-4B3C-9976-93B80A2307F8}" destId="{7F3968B9-1CB9-42EF-B76A-B306FDFCEFFB}" srcOrd="0" destOrd="0" presId="urn:microsoft.com/office/officeart/2018/5/layout/IconCircleLabelList"/>
    <dgm:cxn modelId="{CAC6D4E9-E0BA-4300-8336-56DB698E1878}" type="presOf" srcId="{EFB3A3B2-423D-484E-A149-379E9FC18548}" destId="{45F141F5-6920-4C44-AA69-BCB98DA9A01C}" srcOrd="0" destOrd="0" presId="urn:microsoft.com/office/officeart/2018/5/layout/IconCircleLabelList"/>
    <dgm:cxn modelId="{25E016F4-1599-45B8-B071-9AFB47D00BE4}" type="presOf" srcId="{2E7446D6-C7BA-44E1-9708-0D01C3E92BD9}" destId="{B43480CE-2919-417F-BF34-997133081734}" srcOrd="0" destOrd="0" presId="urn:microsoft.com/office/officeart/2018/5/layout/IconCircleLabelList"/>
    <dgm:cxn modelId="{1542ED0F-E08B-4340-B33E-3D569A9251C9}" type="presParOf" srcId="{7F3968B9-1CB9-42EF-B76A-B306FDFCEFFB}" destId="{82C7CACA-B158-491D-95C9-84DA02C093DA}" srcOrd="0" destOrd="0" presId="urn:microsoft.com/office/officeart/2018/5/layout/IconCircleLabelList"/>
    <dgm:cxn modelId="{46C8569C-0DE5-4A36-A84D-AF6BBAEA1EE0}" type="presParOf" srcId="{82C7CACA-B158-491D-95C9-84DA02C093DA}" destId="{D02106EA-0AC8-4B5D-983D-94EF5E112A7B}" srcOrd="0" destOrd="0" presId="urn:microsoft.com/office/officeart/2018/5/layout/IconCircleLabelList"/>
    <dgm:cxn modelId="{E5180083-BA4B-4C87-98BF-7BBF9098457B}" type="presParOf" srcId="{82C7CACA-B158-491D-95C9-84DA02C093DA}" destId="{A5434BC8-4479-430A-913B-4E937F5EC312}" srcOrd="1" destOrd="0" presId="urn:microsoft.com/office/officeart/2018/5/layout/IconCircleLabelList"/>
    <dgm:cxn modelId="{3BEE9496-0AE1-4E34-8272-369C46C6D199}" type="presParOf" srcId="{82C7CACA-B158-491D-95C9-84DA02C093DA}" destId="{5AA937DF-DFD3-4E5A-8074-53AA62511278}" srcOrd="2" destOrd="0" presId="urn:microsoft.com/office/officeart/2018/5/layout/IconCircleLabelList"/>
    <dgm:cxn modelId="{84975369-8B8E-497D-B81C-728B251BBA40}" type="presParOf" srcId="{82C7CACA-B158-491D-95C9-84DA02C093DA}" destId="{B43480CE-2919-417F-BF34-997133081734}" srcOrd="3" destOrd="0" presId="urn:microsoft.com/office/officeart/2018/5/layout/IconCircleLabelList"/>
    <dgm:cxn modelId="{794EDED1-A67E-4150-A2B7-0B3CC256D974}" type="presParOf" srcId="{7F3968B9-1CB9-42EF-B76A-B306FDFCEFFB}" destId="{42F487DC-7AB1-4848-A124-98F8DA23F4AC}" srcOrd="1" destOrd="0" presId="urn:microsoft.com/office/officeart/2018/5/layout/IconCircleLabelList"/>
    <dgm:cxn modelId="{84ABDCC5-3699-4209-AD8B-9BA9D99A18A3}" type="presParOf" srcId="{7F3968B9-1CB9-42EF-B76A-B306FDFCEFFB}" destId="{F28A0B9E-C174-44BC-A7E7-42FFFFE2D2A3}" srcOrd="2" destOrd="0" presId="urn:microsoft.com/office/officeart/2018/5/layout/IconCircleLabelList"/>
    <dgm:cxn modelId="{AD98A9FC-6E30-49D3-A6CC-F231104CFB23}" type="presParOf" srcId="{F28A0B9E-C174-44BC-A7E7-42FFFFE2D2A3}" destId="{0EB1D68C-8980-4D51-BDDB-EFCB6DF1E2DB}" srcOrd="0" destOrd="0" presId="urn:microsoft.com/office/officeart/2018/5/layout/IconCircleLabelList"/>
    <dgm:cxn modelId="{49866C6E-6997-4E0B-AFE5-4EBA9A42C88F}" type="presParOf" srcId="{F28A0B9E-C174-44BC-A7E7-42FFFFE2D2A3}" destId="{4F46459C-42B4-4207-A1E6-E13FF0339821}" srcOrd="1" destOrd="0" presId="urn:microsoft.com/office/officeart/2018/5/layout/IconCircleLabelList"/>
    <dgm:cxn modelId="{9594D4D5-55CB-44B9-B43F-18BA03EE6636}" type="presParOf" srcId="{F28A0B9E-C174-44BC-A7E7-42FFFFE2D2A3}" destId="{81F57A1C-6AA9-4492-81AD-9AFBE26C00E9}" srcOrd="2" destOrd="0" presId="urn:microsoft.com/office/officeart/2018/5/layout/IconCircleLabelList"/>
    <dgm:cxn modelId="{697512E0-95DE-4B41-8B51-EC42F815F459}" type="presParOf" srcId="{F28A0B9E-C174-44BC-A7E7-42FFFFE2D2A3}" destId="{45F141F5-6920-4C44-AA69-BCB98DA9A01C}" srcOrd="3" destOrd="0" presId="urn:microsoft.com/office/officeart/2018/5/layout/IconCircleLabelList"/>
    <dgm:cxn modelId="{35A713C5-DC1B-490A-A2A2-2809B10F8BDD}" type="presParOf" srcId="{7F3968B9-1CB9-42EF-B76A-B306FDFCEFFB}" destId="{87C89F07-2FD5-4F54-A6B3-7C8862D0DBE9}" srcOrd="3" destOrd="0" presId="urn:microsoft.com/office/officeart/2018/5/layout/IconCircleLabelList"/>
    <dgm:cxn modelId="{E76CDA9C-4742-4BA5-BD05-8D43CD100C30}" type="presParOf" srcId="{7F3968B9-1CB9-42EF-B76A-B306FDFCEFFB}" destId="{58889D02-BCD3-456A-B44E-14A16C78282F}" srcOrd="4" destOrd="0" presId="urn:microsoft.com/office/officeart/2018/5/layout/IconCircleLabelList"/>
    <dgm:cxn modelId="{4C7E0CA8-FE5A-4301-8B44-B04254A0322B}" type="presParOf" srcId="{58889D02-BCD3-456A-B44E-14A16C78282F}" destId="{3393C2F6-81E3-450B-B932-EE5CE1CBB445}" srcOrd="0" destOrd="0" presId="urn:microsoft.com/office/officeart/2018/5/layout/IconCircleLabelList"/>
    <dgm:cxn modelId="{3E4E496E-ADFD-43DF-957E-8D5035F9AE1F}" type="presParOf" srcId="{58889D02-BCD3-456A-B44E-14A16C78282F}" destId="{EC0C9BAE-8634-4DEE-AD0A-E80E62775AD7}" srcOrd="1" destOrd="0" presId="urn:microsoft.com/office/officeart/2018/5/layout/IconCircleLabelList"/>
    <dgm:cxn modelId="{EE3EF480-A52B-4FA8-925B-691150286AB3}" type="presParOf" srcId="{58889D02-BCD3-456A-B44E-14A16C78282F}" destId="{2E4DCE00-B91F-4237-905E-33818927040E}" srcOrd="2" destOrd="0" presId="urn:microsoft.com/office/officeart/2018/5/layout/IconCircleLabelList"/>
    <dgm:cxn modelId="{BA9D67ED-DB00-4970-9A28-EF63EA13B682}" type="presParOf" srcId="{58889D02-BCD3-456A-B44E-14A16C78282F}" destId="{66B0C3D6-EED9-4338-BA86-F34F9481DC71}" srcOrd="3" destOrd="0" presId="urn:microsoft.com/office/officeart/2018/5/layout/IconCircleLabelList"/>
    <dgm:cxn modelId="{B3071A3E-F697-406B-A0F4-60A44180EB95}" type="presParOf" srcId="{7F3968B9-1CB9-42EF-B76A-B306FDFCEFFB}" destId="{E5F73650-00A4-4239-AE29-F71F3989E0B7}" srcOrd="5" destOrd="0" presId="urn:microsoft.com/office/officeart/2018/5/layout/IconCircleLabelList"/>
    <dgm:cxn modelId="{8CB0BBF2-5C55-4D1A-AEA4-880442152BFE}" type="presParOf" srcId="{7F3968B9-1CB9-42EF-B76A-B306FDFCEFFB}" destId="{BFBB3DBC-F93D-45B9-AD57-371C61D8160F}" srcOrd="6" destOrd="0" presId="urn:microsoft.com/office/officeart/2018/5/layout/IconCircleLabelList"/>
    <dgm:cxn modelId="{B64F2990-1293-4D24-B840-F645E14A0BC2}" type="presParOf" srcId="{BFBB3DBC-F93D-45B9-AD57-371C61D8160F}" destId="{305DA574-F90B-41DE-8FB7-F89349DB75DD}" srcOrd="0" destOrd="0" presId="urn:microsoft.com/office/officeart/2018/5/layout/IconCircleLabelList"/>
    <dgm:cxn modelId="{976CAD89-9CF1-4035-A750-8C379F7D5B99}" type="presParOf" srcId="{BFBB3DBC-F93D-45B9-AD57-371C61D8160F}" destId="{88622E50-53E1-4275-B7F2-88D2F91EC132}" srcOrd="1" destOrd="0" presId="urn:microsoft.com/office/officeart/2018/5/layout/IconCircleLabelList"/>
    <dgm:cxn modelId="{9FD36354-F395-4497-AC16-9EE1859A9B2B}" type="presParOf" srcId="{BFBB3DBC-F93D-45B9-AD57-371C61D8160F}" destId="{07BA9AA5-525C-4177-9AF4-07FFD7453527}" srcOrd="2" destOrd="0" presId="urn:microsoft.com/office/officeart/2018/5/layout/IconCircleLabelList"/>
    <dgm:cxn modelId="{40051BD4-8893-4972-8597-7CAD00CA1719}" type="presParOf" srcId="{BFBB3DBC-F93D-45B9-AD57-371C61D8160F}" destId="{30A1736A-6D2A-4C09-BDDA-D08F75FBD65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5430044-564E-457D-975A-AFE0A6AF9003}" type="doc">
      <dgm:prSet loTypeId="urn:microsoft.com/office/officeart/2016/7/layout/LinearArrowProcessNumbered" loCatId="process" qsTypeId="urn:microsoft.com/office/officeart/2005/8/quickstyle/simple4" qsCatId="simple" csTypeId="urn:microsoft.com/office/officeart/2005/8/colors/accent3_2" csCatId="accent3" phldr="1"/>
      <dgm:spPr/>
      <dgm:t>
        <a:bodyPr/>
        <a:lstStyle/>
        <a:p>
          <a:endParaRPr lang="en-US"/>
        </a:p>
      </dgm:t>
    </dgm:pt>
    <dgm:pt modelId="{34725228-3AB7-49A0-86F1-FF3E10C8D61E}">
      <dgm:prSet custT="1"/>
      <dgm:spPr/>
      <dgm:t>
        <a:bodyPr/>
        <a:lstStyle/>
        <a:p>
          <a:r>
            <a:rPr lang="en-US" sz="2000" baseline="0"/>
            <a:t>Avoid unrestricted access</a:t>
          </a:r>
          <a:endParaRPr lang="en-US" sz="2000"/>
        </a:p>
      </dgm:t>
    </dgm:pt>
    <dgm:pt modelId="{0B4DBB55-6533-409D-B9D8-626AA362CBE7}" type="parTrans" cxnId="{1734ED06-B46B-4114-8EC8-176D35D57961}">
      <dgm:prSet/>
      <dgm:spPr/>
      <dgm:t>
        <a:bodyPr/>
        <a:lstStyle/>
        <a:p>
          <a:endParaRPr lang="en-US"/>
        </a:p>
      </dgm:t>
    </dgm:pt>
    <dgm:pt modelId="{D6F4D23E-022C-4496-B4CF-1B9BE4C20848}" type="sibTrans" cxnId="{1734ED06-B46B-4114-8EC8-176D35D57961}">
      <dgm:prSet phldrT="1" phldr="0"/>
      <dgm:spPr/>
      <dgm:t>
        <a:bodyPr/>
        <a:lstStyle/>
        <a:p>
          <a:r>
            <a:rPr lang="en-US"/>
            <a:t>1</a:t>
          </a:r>
        </a:p>
      </dgm:t>
    </dgm:pt>
    <dgm:pt modelId="{8DEBF728-6003-4171-B3DF-13F16DE6E10C}">
      <dgm:prSet custT="1"/>
      <dgm:spPr/>
      <dgm:t>
        <a:bodyPr/>
        <a:lstStyle/>
        <a:p>
          <a:r>
            <a:rPr lang="en-US" sz="2000" baseline="0"/>
            <a:t>Have a subset of products</a:t>
          </a:r>
          <a:endParaRPr lang="en-US" sz="2000"/>
        </a:p>
      </dgm:t>
    </dgm:pt>
    <dgm:pt modelId="{85B64EEC-C82D-419A-B5C3-E1A74A9875D0}" type="parTrans" cxnId="{DB409F6F-59F7-4E3B-B7FB-7420C2EDC427}">
      <dgm:prSet/>
      <dgm:spPr/>
      <dgm:t>
        <a:bodyPr/>
        <a:lstStyle/>
        <a:p>
          <a:endParaRPr lang="en-US"/>
        </a:p>
      </dgm:t>
    </dgm:pt>
    <dgm:pt modelId="{BF8B2E9C-4A2C-4C35-BBEC-6ADACC018A75}" type="sibTrans" cxnId="{DB409F6F-59F7-4E3B-B7FB-7420C2EDC427}">
      <dgm:prSet phldrT="2" phldr="0"/>
      <dgm:spPr/>
      <dgm:t>
        <a:bodyPr/>
        <a:lstStyle/>
        <a:p>
          <a:r>
            <a:rPr lang="en-US"/>
            <a:t>2</a:t>
          </a:r>
        </a:p>
      </dgm:t>
    </dgm:pt>
    <dgm:pt modelId="{55C7B347-A037-4837-8A66-1B205641D968}">
      <dgm:prSet custT="1"/>
      <dgm:spPr/>
      <dgm:t>
        <a:bodyPr/>
        <a:lstStyle/>
        <a:p>
          <a:r>
            <a:rPr lang="en-US" sz="2000" baseline="0"/>
            <a:t>Tailor the marketplace for organizational needs</a:t>
          </a:r>
          <a:endParaRPr lang="en-US" sz="2000"/>
        </a:p>
      </dgm:t>
    </dgm:pt>
    <dgm:pt modelId="{6C0CE35D-F7C8-4A82-A39F-787B9EFAAD23}" type="parTrans" cxnId="{D2A5C02A-FA36-484B-A96B-A133B2457F8B}">
      <dgm:prSet/>
      <dgm:spPr/>
      <dgm:t>
        <a:bodyPr/>
        <a:lstStyle/>
        <a:p>
          <a:endParaRPr lang="en-US"/>
        </a:p>
      </dgm:t>
    </dgm:pt>
    <dgm:pt modelId="{56922A55-9944-42E4-A677-BC52AFD5094B}" type="sibTrans" cxnId="{D2A5C02A-FA36-484B-A96B-A133B2457F8B}">
      <dgm:prSet phldrT="3" phldr="0"/>
      <dgm:spPr/>
      <dgm:t>
        <a:bodyPr/>
        <a:lstStyle/>
        <a:p>
          <a:r>
            <a:rPr lang="en-US"/>
            <a:t>3</a:t>
          </a:r>
        </a:p>
      </dgm:t>
    </dgm:pt>
    <dgm:pt modelId="{322DF19F-A1F6-4781-9F7A-E9F42A0A145B}">
      <dgm:prSet custT="1"/>
      <dgm:spPr/>
      <dgm:t>
        <a:bodyPr/>
        <a:lstStyle/>
        <a:p>
          <a:r>
            <a:rPr lang="en-US" sz="2000" baseline="0" dirty="0"/>
            <a:t>Create specific offer collections at the subscription level</a:t>
          </a:r>
          <a:endParaRPr lang="en-US" sz="2000" dirty="0"/>
        </a:p>
      </dgm:t>
    </dgm:pt>
    <dgm:pt modelId="{F7F94060-B7CB-4DC1-B0FD-9213EFC45863}" type="parTrans" cxnId="{5FF1892D-6DB1-49AA-B71B-247BABCAAC2D}">
      <dgm:prSet/>
      <dgm:spPr/>
      <dgm:t>
        <a:bodyPr/>
        <a:lstStyle/>
        <a:p>
          <a:endParaRPr lang="en-US"/>
        </a:p>
      </dgm:t>
    </dgm:pt>
    <dgm:pt modelId="{244ECE5C-57CA-4674-B1CF-A13D0821A693}" type="sibTrans" cxnId="{5FF1892D-6DB1-49AA-B71B-247BABCAAC2D}">
      <dgm:prSet phldrT="4" phldr="0"/>
      <dgm:spPr/>
      <dgm:t>
        <a:bodyPr/>
        <a:lstStyle/>
        <a:p>
          <a:r>
            <a:rPr lang="en-US"/>
            <a:t>4</a:t>
          </a:r>
        </a:p>
      </dgm:t>
    </dgm:pt>
    <dgm:pt modelId="{B32FBD78-7895-4F3F-895A-4E81CF55E756}" type="pres">
      <dgm:prSet presAssocID="{E5430044-564E-457D-975A-AFE0A6AF9003}" presName="linearFlow" presStyleCnt="0">
        <dgm:presLayoutVars>
          <dgm:dir/>
          <dgm:animLvl val="lvl"/>
          <dgm:resizeHandles val="exact"/>
        </dgm:presLayoutVars>
      </dgm:prSet>
      <dgm:spPr/>
    </dgm:pt>
    <dgm:pt modelId="{85883C6A-67E1-4E66-99FC-B47CDEC8B8DF}" type="pres">
      <dgm:prSet presAssocID="{34725228-3AB7-49A0-86F1-FF3E10C8D61E}" presName="compositeNode" presStyleCnt="0"/>
      <dgm:spPr/>
    </dgm:pt>
    <dgm:pt modelId="{B83B6E46-7DCB-4389-B444-F3355CC02233}" type="pres">
      <dgm:prSet presAssocID="{34725228-3AB7-49A0-86F1-FF3E10C8D61E}" presName="parTx" presStyleLbl="node1" presStyleIdx="0" presStyleCnt="0">
        <dgm:presLayoutVars>
          <dgm:chMax val="0"/>
          <dgm:chPref val="0"/>
          <dgm:bulletEnabled val="1"/>
        </dgm:presLayoutVars>
      </dgm:prSet>
      <dgm:spPr/>
    </dgm:pt>
    <dgm:pt modelId="{2C551C1C-B97E-4387-81E1-FBAAB9FF94BD}" type="pres">
      <dgm:prSet presAssocID="{34725228-3AB7-49A0-86F1-FF3E10C8D61E}" presName="parSh" presStyleCnt="0"/>
      <dgm:spPr/>
    </dgm:pt>
    <dgm:pt modelId="{55096309-307D-419A-9FDE-45C362E45B26}" type="pres">
      <dgm:prSet presAssocID="{34725228-3AB7-49A0-86F1-FF3E10C8D61E}" presName="lineNode" presStyleLbl="alignAccFollowNode1" presStyleIdx="0" presStyleCnt="12"/>
      <dgm:spPr/>
    </dgm:pt>
    <dgm:pt modelId="{88C87A3B-BA36-46F8-9130-B0EDBA391AA1}" type="pres">
      <dgm:prSet presAssocID="{34725228-3AB7-49A0-86F1-FF3E10C8D61E}" presName="lineArrowNode" presStyleLbl="alignAccFollowNode1" presStyleIdx="1" presStyleCnt="12"/>
      <dgm:spPr/>
    </dgm:pt>
    <dgm:pt modelId="{AF122252-A20A-4D52-AB98-EB6AE112FCD6}" type="pres">
      <dgm:prSet presAssocID="{D6F4D23E-022C-4496-B4CF-1B9BE4C20848}" presName="sibTransNodeCircle" presStyleLbl="alignNode1" presStyleIdx="0" presStyleCnt="4">
        <dgm:presLayoutVars>
          <dgm:chMax val="0"/>
          <dgm:bulletEnabled/>
        </dgm:presLayoutVars>
      </dgm:prSet>
      <dgm:spPr/>
    </dgm:pt>
    <dgm:pt modelId="{11F3B753-7C59-4A01-A481-07CB6D4D5C26}" type="pres">
      <dgm:prSet presAssocID="{D6F4D23E-022C-4496-B4CF-1B9BE4C20848}" presName="spacerBetweenCircleAndCallout" presStyleCnt="0">
        <dgm:presLayoutVars/>
      </dgm:prSet>
      <dgm:spPr/>
    </dgm:pt>
    <dgm:pt modelId="{93BCEE63-2FF6-480C-8FCD-64418A85F710}" type="pres">
      <dgm:prSet presAssocID="{34725228-3AB7-49A0-86F1-FF3E10C8D61E}" presName="nodeText" presStyleLbl="alignAccFollowNode1" presStyleIdx="2" presStyleCnt="12">
        <dgm:presLayoutVars>
          <dgm:bulletEnabled val="1"/>
        </dgm:presLayoutVars>
      </dgm:prSet>
      <dgm:spPr/>
    </dgm:pt>
    <dgm:pt modelId="{EA0D787F-EC43-4AD7-A98D-6D7584B62710}" type="pres">
      <dgm:prSet presAssocID="{D6F4D23E-022C-4496-B4CF-1B9BE4C20848}" presName="sibTransComposite" presStyleCnt="0"/>
      <dgm:spPr/>
    </dgm:pt>
    <dgm:pt modelId="{270C2ABD-02FE-41B3-B9C5-61517FEA520F}" type="pres">
      <dgm:prSet presAssocID="{8DEBF728-6003-4171-B3DF-13F16DE6E10C}" presName="compositeNode" presStyleCnt="0"/>
      <dgm:spPr/>
    </dgm:pt>
    <dgm:pt modelId="{9B1A90AB-2D4E-43B6-AA5F-9AA7632E7666}" type="pres">
      <dgm:prSet presAssocID="{8DEBF728-6003-4171-B3DF-13F16DE6E10C}" presName="parTx" presStyleLbl="node1" presStyleIdx="0" presStyleCnt="0">
        <dgm:presLayoutVars>
          <dgm:chMax val="0"/>
          <dgm:chPref val="0"/>
          <dgm:bulletEnabled val="1"/>
        </dgm:presLayoutVars>
      </dgm:prSet>
      <dgm:spPr/>
    </dgm:pt>
    <dgm:pt modelId="{6CE66EC8-2AFC-4DA1-A023-0BDB0C64FB1A}" type="pres">
      <dgm:prSet presAssocID="{8DEBF728-6003-4171-B3DF-13F16DE6E10C}" presName="parSh" presStyleCnt="0"/>
      <dgm:spPr/>
    </dgm:pt>
    <dgm:pt modelId="{532342A5-C2D6-45AE-A80B-2035FDD6726A}" type="pres">
      <dgm:prSet presAssocID="{8DEBF728-6003-4171-B3DF-13F16DE6E10C}" presName="lineNode" presStyleLbl="alignAccFollowNode1" presStyleIdx="3" presStyleCnt="12"/>
      <dgm:spPr/>
    </dgm:pt>
    <dgm:pt modelId="{4310F074-381D-4F64-A4BD-5CF36F205629}" type="pres">
      <dgm:prSet presAssocID="{8DEBF728-6003-4171-B3DF-13F16DE6E10C}" presName="lineArrowNode" presStyleLbl="alignAccFollowNode1" presStyleIdx="4" presStyleCnt="12"/>
      <dgm:spPr/>
    </dgm:pt>
    <dgm:pt modelId="{67FE8937-0939-42F9-8CC9-217D94E69F02}" type="pres">
      <dgm:prSet presAssocID="{BF8B2E9C-4A2C-4C35-BBEC-6ADACC018A75}" presName="sibTransNodeCircle" presStyleLbl="alignNode1" presStyleIdx="1" presStyleCnt="4">
        <dgm:presLayoutVars>
          <dgm:chMax val="0"/>
          <dgm:bulletEnabled/>
        </dgm:presLayoutVars>
      </dgm:prSet>
      <dgm:spPr/>
    </dgm:pt>
    <dgm:pt modelId="{81233702-101A-4184-8D9C-EDCBA9EE3D32}" type="pres">
      <dgm:prSet presAssocID="{BF8B2E9C-4A2C-4C35-BBEC-6ADACC018A75}" presName="spacerBetweenCircleAndCallout" presStyleCnt="0">
        <dgm:presLayoutVars/>
      </dgm:prSet>
      <dgm:spPr/>
    </dgm:pt>
    <dgm:pt modelId="{2F6F9E24-AB1B-43F6-B7EE-6D67E8D36A80}" type="pres">
      <dgm:prSet presAssocID="{8DEBF728-6003-4171-B3DF-13F16DE6E10C}" presName="nodeText" presStyleLbl="alignAccFollowNode1" presStyleIdx="5" presStyleCnt="12">
        <dgm:presLayoutVars>
          <dgm:bulletEnabled val="1"/>
        </dgm:presLayoutVars>
      </dgm:prSet>
      <dgm:spPr/>
    </dgm:pt>
    <dgm:pt modelId="{553AA14F-D95A-46DB-AD85-888C15FC6FF2}" type="pres">
      <dgm:prSet presAssocID="{BF8B2E9C-4A2C-4C35-BBEC-6ADACC018A75}" presName="sibTransComposite" presStyleCnt="0"/>
      <dgm:spPr/>
    </dgm:pt>
    <dgm:pt modelId="{7D95A875-632D-49F2-9D9E-D07BC827FB9E}" type="pres">
      <dgm:prSet presAssocID="{55C7B347-A037-4837-8A66-1B205641D968}" presName="compositeNode" presStyleCnt="0"/>
      <dgm:spPr/>
    </dgm:pt>
    <dgm:pt modelId="{27F22802-2612-42E7-9BB1-E5A47FFE7290}" type="pres">
      <dgm:prSet presAssocID="{55C7B347-A037-4837-8A66-1B205641D968}" presName="parTx" presStyleLbl="node1" presStyleIdx="0" presStyleCnt="0">
        <dgm:presLayoutVars>
          <dgm:chMax val="0"/>
          <dgm:chPref val="0"/>
          <dgm:bulletEnabled val="1"/>
        </dgm:presLayoutVars>
      </dgm:prSet>
      <dgm:spPr/>
    </dgm:pt>
    <dgm:pt modelId="{8EC3CA22-35D8-4885-89CE-45E2A3632485}" type="pres">
      <dgm:prSet presAssocID="{55C7B347-A037-4837-8A66-1B205641D968}" presName="parSh" presStyleCnt="0"/>
      <dgm:spPr/>
    </dgm:pt>
    <dgm:pt modelId="{0C18A599-53E6-41A4-8CF6-18D261CE5671}" type="pres">
      <dgm:prSet presAssocID="{55C7B347-A037-4837-8A66-1B205641D968}" presName="lineNode" presStyleLbl="alignAccFollowNode1" presStyleIdx="6" presStyleCnt="12"/>
      <dgm:spPr/>
    </dgm:pt>
    <dgm:pt modelId="{EBAA590E-552A-4C24-960E-CC35C613CE64}" type="pres">
      <dgm:prSet presAssocID="{55C7B347-A037-4837-8A66-1B205641D968}" presName="lineArrowNode" presStyleLbl="alignAccFollowNode1" presStyleIdx="7" presStyleCnt="12"/>
      <dgm:spPr/>
    </dgm:pt>
    <dgm:pt modelId="{84DC29AA-23D2-4F52-8987-3C35D1678CD0}" type="pres">
      <dgm:prSet presAssocID="{56922A55-9944-42E4-A677-BC52AFD5094B}" presName="sibTransNodeCircle" presStyleLbl="alignNode1" presStyleIdx="2" presStyleCnt="4">
        <dgm:presLayoutVars>
          <dgm:chMax val="0"/>
          <dgm:bulletEnabled/>
        </dgm:presLayoutVars>
      </dgm:prSet>
      <dgm:spPr/>
    </dgm:pt>
    <dgm:pt modelId="{7BCB0B00-BB35-43F7-ABEF-ADB6342D4401}" type="pres">
      <dgm:prSet presAssocID="{56922A55-9944-42E4-A677-BC52AFD5094B}" presName="spacerBetweenCircleAndCallout" presStyleCnt="0">
        <dgm:presLayoutVars/>
      </dgm:prSet>
      <dgm:spPr/>
    </dgm:pt>
    <dgm:pt modelId="{053BAE7E-A75F-4C6A-9ED3-9FD03710B866}" type="pres">
      <dgm:prSet presAssocID="{55C7B347-A037-4837-8A66-1B205641D968}" presName="nodeText" presStyleLbl="alignAccFollowNode1" presStyleIdx="8" presStyleCnt="12">
        <dgm:presLayoutVars>
          <dgm:bulletEnabled val="1"/>
        </dgm:presLayoutVars>
      </dgm:prSet>
      <dgm:spPr/>
    </dgm:pt>
    <dgm:pt modelId="{61410C6B-1D1E-43A3-99F6-9937E82A36B9}" type="pres">
      <dgm:prSet presAssocID="{56922A55-9944-42E4-A677-BC52AFD5094B}" presName="sibTransComposite" presStyleCnt="0"/>
      <dgm:spPr/>
    </dgm:pt>
    <dgm:pt modelId="{F5D6D07E-165A-4563-87E0-FBD0C7150737}" type="pres">
      <dgm:prSet presAssocID="{322DF19F-A1F6-4781-9F7A-E9F42A0A145B}" presName="compositeNode" presStyleCnt="0"/>
      <dgm:spPr/>
    </dgm:pt>
    <dgm:pt modelId="{93F924AC-657D-48C9-A3BD-5F392B84A0D2}" type="pres">
      <dgm:prSet presAssocID="{322DF19F-A1F6-4781-9F7A-E9F42A0A145B}" presName="parTx" presStyleLbl="node1" presStyleIdx="0" presStyleCnt="0">
        <dgm:presLayoutVars>
          <dgm:chMax val="0"/>
          <dgm:chPref val="0"/>
          <dgm:bulletEnabled val="1"/>
        </dgm:presLayoutVars>
      </dgm:prSet>
      <dgm:spPr/>
    </dgm:pt>
    <dgm:pt modelId="{D1287D3D-0186-41AC-9BFB-E3014C6F2A0C}" type="pres">
      <dgm:prSet presAssocID="{322DF19F-A1F6-4781-9F7A-E9F42A0A145B}" presName="parSh" presStyleCnt="0"/>
      <dgm:spPr/>
    </dgm:pt>
    <dgm:pt modelId="{541B1AC1-E0D8-4DA3-9693-AF574AD410C7}" type="pres">
      <dgm:prSet presAssocID="{322DF19F-A1F6-4781-9F7A-E9F42A0A145B}" presName="lineNode" presStyleLbl="alignAccFollowNode1" presStyleIdx="9" presStyleCnt="12"/>
      <dgm:spPr/>
    </dgm:pt>
    <dgm:pt modelId="{8F12B39A-156E-4142-89BA-5363EFDDDE7A}" type="pres">
      <dgm:prSet presAssocID="{322DF19F-A1F6-4781-9F7A-E9F42A0A145B}" presName="lineArrowNode" presStyleLbl="alignAccFollowNode1" presStyleIdx="10" presStyleCnt="12"/>
      <dgm:spPr/>
    </dgm:pt>
    <dgm:pt modelId="{F59BFEEC-CBFC-42E7-AC37-54ED890E9A63}" type="pres">
      <dgm:prSet presAssocID="{244ECE5C-57CA-4674-B1CF-A13D0821A693}" presName="sibTransNodeCircle" presStyleLbl="alignNode1" presStyleIdx="3" presStyleCnt="4">
        <dgm:presLayoutVars>
          <dgm:chMax val="0"/>
          <dgm:bulletEnabled/>
        </dgm:presLayoutVars>
      </dgm:prSet>
      <dgm:spPr/>
    </dgm:pt>
    <dgm:pt modelId="{8014DA9C-25BF-4772-B4E8-9D8090C56767}" type="pres">
      <dgm:prSet presAssocID="{244ECE5C-57CA-4674-B1CF-A13D0821A693}" presName="spacerBetweenCircleAndCallout" presStyleCnt="0">
        <dgm:presLayoutVars/>
      </dgm:prSet>
      <dgm:spPr/>
    </dgm:pt>
    <dgm:pt modelId="{193D835A-B190-4097-BB37-EBD8EFCA5B58}" type="pres">
      <dgm:prSet presAssocID="{322DF19F-A1F6-4781-9F7A-E9F42A0A145B}" presName="nodeText" presStyleLbl="alignAccFollowNode1" presStyleIdx="11" presStyleCnt="12">
        <dgm:presLayoutVars>
          <dgm:bulletEnabled val="1"/>
        </dgm:presLayoutVars>
      </dgm:prSet>
      <dgm:spPr/>
    </dgm:pt>
  </dgm:ptLst>
  <dgm:cxnLst>
    <dgm:cxn modelId="{1734ED06-B46B-4114-8EC8-176D35D57961}" srcId="{E5430044-564E-457D-975A-AFE0A6AF9003}" destId="{34725228-3AB7-49A0-86F1-FF3E10C8D61E}" srcOrd="0" destOrd="0" parTransId="{0B4DBB55-6533-409D-B9D8-626AA362CBE7}" sibTransId="{D6F4D23E-022C-4496-B4CF-1B9BE4C20848}"/>
    <dgm:cxn modelId="{7BF87B21-AD3C-46F2-883A-AAD6AB35E146}" type="presOf" srcId="{D6F4D23E-022C-4496-B4CF-1B9BE4C20848}" destId="{AF122252-A20A-4D52-AB98-EB6AE112FCD6}" srcOrd="0" destOrd="0" presId="urn:microsoft.com/office/officeart/2016/7/layout/LinearArrowProcessNumbered"/>
    <dgm:cxn modelId="{D2A5C02A-FA36-484B-A96B-A133B2457F8B}" srcId="{E5430044-564E-457D-975A-AFE0A6AF9003}" destId="{55C7B347-A037-4837-8A66-1B205641D968}" srcOrd="2" destOrd="0" parTransId="{6C0CE35D-F7C8-4A82-A39F-787B9EFAAD23}" sibTransId="{56922A55-9944-42E4-A677-BC52AFD5094B}"/>
    <dgm:cxn modelId="{5FF1892D-6DB1-49AA-B71B-247BABCAAC2D}" srcId="{E5430044-564E-457D-975A-AFE0A6AF9003}" destId="{322DF19F-A1F6-4781-9F7A-E9F42A0A145B}" srcOrd="3" destOrd="0" parTransId="{F7F94060-B7CB-4DC1-B0FD-9213EFC45863}" sibTransId="{244ECE5C-57CA-4674-B1CF-A13D0821A693}"/>
    <dgm:cxn modelId="{A13FBF64-61DF-490D-A1B4-DF5C47ABAB1D}" type="presOf" srcId="{244ECE5C-57CA-4674-B1CF-A13D0821A693}" destId="{F59BFEEC-CBFC-42E7-AC37-54ED890E9A63}" srcOrd="0" destOrd="0" presId="urn:microsoft.com/office/officeart/2016/7/layout/LinearArrowProcessNumbered"/>
    <dgm:cxn modelId="{DB409F6F-59F7-4E3B-B7FB-7420C2EDC427}" srcId="{E5430044-564E-457D-975A-AFE0A6AF9003}" destId="{8DEBF728-6003-4171-B3DF-13F16DE6E10C}" srcOrd="1" destOrd="0" parTransId="{85B64EEC-C82D-419A-B5C3-E1A74A9875D0}" sibTransId="{BF8B2E9C-4A2C-4C35-BBEC-6ADACC018A75}"/>
    <dgm:cxn modelId="{7B7F3D7F-4982-45D2-84E6-AFA31DB2D7DE}" type="presOf" srcId="{56922A55-9944-42E4-A677-BC52AFD5094B}" destId="{84DC29AA-23D2-4F52-8987-3C35D1678CD0}" srcOrd="0" destOrd="0" presId="urn:microsoft.com/office/officeart/2016/7/layout/LinearArrowProcessNumbered"/>
    <dgm:cxn modelId="{2B5EAE80-BE8D-4A4C-BB3F-855FFDDFCF9D}" type="presOf" srcId="{E5430044-564E-457D-975A-AFE0A6AF9003}" destId="{B32FBD78-7895-4F3F-895A-4E81CF55E756}" srcOrd="0" destOrd="0" presId="urn:microsoft.com/office/officeart/2016/7/layout/LinearArrowProcessNumbered"/>
    <dgm:cxn modelId="{078E128E-7527-41A1-960F-8D3BAF1C8BF0}" type="presOf" srcId="{8DEBF728-6003-4171-B3DF-13F16DE6E10C}" destId="{2F6F9E24-AB1B-43F6-B7EE-6D67E8D36A80}" srcOrd="0" destOrd="0" presId="urn:microsoft.com/office/officeart/2016/7/layout/LinearArrowProcessNumbered"/>
    <dgm:cxn modelId="{FF0A209D-DDE7-4854-88FA-8DFCE49AF0EF}" type="presOf" srcId="{322DF19F-A1F6-4781-9F7A-E9F42A0A145B}" destId="{193D835A-B190-4097-BB37-EBD8EFCA5B58}" srcOrd="0" destOrd="0" presId="urn:microsoft.com/office/officeart/2016/7/layout/LinearArrowProcessNumbered"/>
    <dgm:cxn modelId="{D880589D-FCC2-4063-87B9-D20032707A00}" type="presOf" srcId="{55C7B347-A037-4837-8A66-1B205641D968}" destId="{053BAE7E-A75F-4C6A-9ED3-9FD03710B866}" srcOrd="0" destOrd="0" presId="urn:microsoft.com/office/officeart/2016/7/layout/LinearArrowProcessNumbered"/>
    <dgm:cxn modelId="{79E93FE1-F56A-42B8-9413-0BB74D504E31}" type="presOf" srcId="{34725228-3AB7-49A0-86F1-FF3E10C8D61E}" destId="{93BCEE63-2FF6-480C-8FCD-64418A85F710}" srcOrd="0" destOrd="0" presId="urn:microsoft.com/office/officeart/2016/7/layout/LinearArrowProcessNumbered"/>
    <dgm:cxn modelId="{B3DD4EF8-72C9-4790-98C9-18379E509B1B}" type="presOf" srcId="{BF8B2E9C-4A2C-4C35-BBEC-6ADACC018A75}" destId="{67FE8937-0939-42F9-8CC9-217D94E69F02}" srcOrd="0" destOrd="0" presId="urn:microsoft.com/office/officeart/2016/7/layout/LinearArrowProcessNumbered"/>
    <dgm:cxn modelId="{86ACF9E8-8EA7-4630-9EEE-5CECCF7AFA46}" type="presParOf" srcId="{B32FBD78-7895-4F3F-895A-4E81CF55E756}" destId="{85883C6A-67E1-4E66-99FC-B47CDEC8B8DF}" srcOrd="0" destOrd="0" presId="urn:microsoft.com/office/officeart/2016/7/layout/LinearArrowProcessNumbered"/>
    <dgm:cxn modelId="{6AA84C5A-85E4-4450-96E4-53D6EAF49EC9}" type="presParOf" srcId="{85883C6A-67E1-4E66-99FC-B47CDEC8B8DF}" destId="{B83B6E46-7DCB-4389-B444-F3355CC02233}" srcOrd="0" destOrd="0" presId="urn:microsoft.com/office/officeart/2016/7/layout/LinearArrowProcessNumbered"/>
    <dgm:cxn modelId="{5B1BF383-0E3E-41A2-B7AB-62C79651FFE1}" type="presParOf" srcId="{85883C6A-67E1-4E66-99FC-B47CDEC8B8DF}" destId="{2C551C1C-B97E-4387-81E1-FBAAB9FF94BD}" srcOrd="1" destOrd="0" presId="urn:microsoft.com/office/officeart/2016/7/layout/LinearArrowProcessNumbered"/>
    <dgm:cxn modelId="{2BB742C6-8866-4E38-A248-33F07E16D200}" type="presParOf" srcId="{2C551C1C-B97E-4387-81E1-FBAAB9FF94BD}" destId="{55096309-307D-419A-9FDE-45C362E45B26}" srcOrd="0" destOrd="0" presId="urn:microsoft.com/office/officeart/2016/7/layout/LinearArrowProcessNumbered"/>
    <dgm:cxn modelId="{FC0D0641-E4D7-47CF-AF1E-8C98D2B46C75}" type="presParOf" srcId="{2C551C1C-B97E-4387-81E1-FBAAB9FF94BD}" destId="{88C87A3B-BA36-46F8-9130-B0EDBA391AA1}" srcOrd="1" destOrd="0" presId="urn:microsoft.com/office/officeart/2016/7/layout/LinearArrowProcessNumbered"/>
    <dgm:cxn modelId="{4B3685B2-8961-4695-8589-6AB4FC0CE96B}" type="presParOf" srcId="{2C551C1C-B97E-4387-81E1-FBAAB9FF94BD}" destId="{AF122252-A20A-4D52-AB98-EB6AE112FCD6}" srcOrd="2" destOrd="0" presId="urn:microsoft.com/office/officeart/2016/7/layout/LinearArrowProcessNumbered"/>
    <dgm:cxn modelId="{1673E626-44B6-4B29-A823-8D7D828561F2}" type="presParOf" srcId="{2C551C1C-B97E-4387-81E1-FBAAB9FF94BD}" destId="{11F3B753-7C59-4A01-A481-07CB6D4D5C26}" srcOrd="3" destOrd="0" presId="urn:microsoft.com/office/officeart/2016/7/layout/LinearArrowProcessNumbered"/>
    <dgm:cxn modelId="{061D4623-BF38-4CDA-8831-55CE7388AFCF}" type="presParOf" srcId="{85883C6A-67E1-4E66-99FC-B47CDEC8B8DF}" destId="{93BCEE63-2FF6-480C-8FCD-64418A85F710}" srcOrd="2" destOrd="0" presId="urn:microsoft.com/office/officeart/2016/7/layout/LinearArrowProcessNumbered"/>
    <dgm:cxn modelId="{AE5D01A1-86ED-4BF0-8E86-A19E6399A56D}" type="presParOf" srcId="{B32FBD78-7895-4F3F-895A-4E81CF55E756}" destId="{EA0D787F-EC43-4AD7-A98D-6D7584B62710}" srcOrd="1" destOrd="0" presId="urn:microsoft.com/office/officeart/2016/7/layout/LinearArrowProcessNumbered"/>
    <dgm:cxn modelId="{56D7F97F-91ED-4321-819B-340624983CEC}" type="presParOf" srcId="{B32FBD78-7895-4F3F-895A-4E81CF55E756}" destId="{270C2ABD-02FE-41B3-B9C5-61517FEA520F}" srcOrd="2" destOrd="0" presId="urn:microsoft.com/office/officeart/2016/7/layout/LinearArrowProcessNumbered"/>
    <dgm:cxn modelId="{525B454B-E9D1-4448-AE50-F81C8B4F4A14}" type="presParOf" srcId="{270C2ABD-02FE-41B3-B9C5-61517FEA520F}" destId="{9B1A90AB-2D4E-43B6-AA5F-9AA7632E7666}" srcOrd="0" destOrd="0" presId="urn:microsoft.com/office/officeart/2016/7/layout/LinearArrowProcessNumbered"/>
    <dgm:cxn modelId="{131859EF-A446-4C56-A815-8B11751CDACD}" type="presParOf" srcId="{270C2ABD-02FE-41B3-B9C5-61517FEA520F}" destId="{6CE66EC8-2AFC-4DA1-A023-0BDB0C64FB1A}" srcOrd="1" destOrd="0" presId="urn:microsoft.com/office/officeart/2016/7/layout/LinearArrowProcessNumbered"/>
    <dgm:cxn modelId="{BF8504F4-0657-425E-891B-DCF2E1E52A95}" type="presParOf" srcId="{6CE66EC8-2AFC-4DA1-A023-0BDB0C64FB1A}" destId="{532342A5-C2D6-45AE-A80B-2035FDD6726A}" srcOrd="0" destOrd="0" presId="urn:microsoft.com/office/officeart/2016/7/layout/LinearArrowProcessNumbered"/>
    <dgm:cxn modelId="{190A81EC-43DF-431B-B31C-45691D54B113}" type="presParOf" srcId="{6CE66EC8-2AFC-4DA1-A023-0BDB0C64FB1A}" destId="{4310F074-381D-4F64-A4BD-5CF36F205629}" srcOrd="1" destOrd="0" presId="urn:microsoft.com/office/officeart/2016/7/layout/LinearArrowProcessNumbered"/>
    <dgm:cxn modelId="{91DC6C09-5057-4BBA-A916-76003570B086}" type="presParOf" srcId="{6CE66EC8-2AFC-4DA1-A023-0BDB0C64FB1A}" destId="{67FE8937-0939-42F9-8CC9-217D94E69F02}" srcOrd="2" destOrd="0" presId="urn:microsoft.com/office/officeart/2016/7/layout/LinearArrowProcessNumbered"/>
    <dgm:cxn modelId="{08E0F7DA-C4C2-4F7A-8B24-F7E70A1A1D41}" type="presParOf" srcId="{6CE66EC8-2AFC-4DA1-A023-0BDB0C64FB1A}" destId="{81233702-101A-4184-8D9C-EDCBA9EE3D32}" srcOrd="3" destOrd="0" presId="urn:microsoft.com/office/officeart/2016/7/layout/LinearArrowProcessNumbered"/>
    <dgm:cxn modelId="{DAC6B999-8329-41D8-857C-1A488B80871D}" type="presParOf" srcId="{270C2ABD-02FE-41B3-B9C5-61517FEA520F}" destId="{2F6F9E24-AB1B-43F6-B7EE-6D67E8D36A80}" srcOrd="2" destOrd="0" presId="urn:microsoft.com/office/officeart/2016/7/layout/LinearArrowProcessNumbered"/>
    <dgm:cxn modelId="{783449E0-BF24-4966-B562-05AAA7E40035}" type="presParOf" srcId="{B32FBD78-7895-4F3F-895A-4E81CF55E756}" destId="{553AA14F-D95A-46DB-AD85-888C15FC6FF2}" srcOrd="3" destOrd="0" presId="urn:microsoft.com/office/officeart/2016/7/layout/LinearArrowProcessNumbered"/>
    <dgm:cxn modelId="{196F5E00-6E1B-4A7E-9B0F-C7E694208283}" type="presParOf" srcId="{B32FBD78-7895-4F3F-895A-4E81CF55E756}" destId="{7D95A875-632D-49F2-9D9E-D07BC827FB9E}" srcOrd="4" destOrd="0" presId="urn:microsoft.com/office/officeart/2016/7/layout/LinearArrowProcessNumbered"/>
    <dgm:cxn modelId="{7501B5A5-D01D-43CB-99EA-775C68521E39}" type="presParOf" srcId="{7D95A875-632D-49F2-9D9E-D07BC827FB9E}" destId="{27F22802-2612-42E7-9BB1-E5A47FFE7290}" srcOrd="0" destOrd="0" presId="urn:microsoft.com/office/officeart/2016/7/layout/LinearArrowProcessNumbered"/>
    <dgm:cxn modelId="{65FE50A3-534E-4BFE-B152-9011FAD4CC61}" type="presParOf" srcId="{7D95A875-632D-49F2-9D9E-D07BC827FB9E}" destId="{8EC3CA22-35D8-4885-89CE-45E2A3632485}" srcOrd="1" destOrd="0" presId="urn:microsoft.com/office/officeart/2016/7/layout/LinearArrowProcessNumbered"/>
    <dgm:cxn modelId="{1A258F1C-5AED-48EA-9FEA-5A1C2403CBF6}" type="presParOf" srcId="{8EC3CA22-35D8-4885-89CE-45E2A3632485}" destId="{0C18A599-53E6-41A4-8CF6-18D261CE5671}" srcOrd="0" destOrd="0" presId="urn:microsoft.com/office/officeart/2016/7/layout/LinearArrowProcessNumbered"/>
    <dgm:cxn modelId="{410CF706-EF59-4C77-B278-C1A692AD1120}" type="presParOf" srcId="{8EC3CA22-35D8-4885-89CE-45E2A3632485}" destId="{EBAA590E-552A-4C24-960E-CC35C613CE64}" srcOrd="1" destOrd="0" presId="urn:microsoft.com/office/officeart/2016/7/layout/LinearArrowProcessNumbered"/>
    <dgm:cxn modelId="{0FF027DF-0DDE-49A6-9D04-33EEB28CD0C7}" type="presParOf" srcId="{8EC3CA22-35D8-4885-89CE-45E2A3632485}" destId="{84DC29AA-23D2-4F52-8987-3C35D1678CD0}" srcOrd="2" destOrd="0" presId="urn:microsoft.com/office/officeart/2016/7/layout/LinearArrowProcessNumbered"/>
    <dgm:cxn modelId="{6C3D0762-7AC2-476F-AD3E-4B204FE5256C}" type="presParOf" srcId="{8EC3CA22-35D8-4885-89CE-45E2A3632485}" destId="{7BCB0B00-BB35-43F7-ABEF-ADB6342D4401}" srcOrd="3" destOrd="0" presId="urn:microsoft.com/office/officeart/2016/7/layout/LinearArrowProcessNumbered"/>
    <dgm:cxn modelId="{F49692EB-9A8C-4171-82DF-3728BDDBAE70}" type="presParOf" srcId="{7D95A875-632D-49F2-9D9E-D07BC827FB9E}" destId="{053BAE7E-A75F-4C6A-9ED3-9FD03710B866}" srcOrd="2" destOrd="0" presId="urn:microsoft.com/office/officeart/2016/7/layout/LinearArrowProcessNumbered"/>
    <dgm:cxn modelId="{64E9BB50-5679-48D8-81BC-FB674267D037}" type="presParOf" srcId="{B32FBD78-7895-4F3F-895A-4E81CF55E756}" destId="{61410C6B-1D1E-43A3-99F6-9937E82A36B9}" srcOrd="5" destOrd="0" presId="urn:microsoft.com/office/officeart/2016/7/layout/LinearArrowProcessNumbered"/>
    <dgm:cxn modelId="{69BCFACB-9629-4D08-AB25-B86F374CF109}" type="presParOf" srcId="{B32FBD78-7895-4F3F-895A-4E81CF55E756}" destId="{F5D6D07E-165A-4563-87E0-FBD0C7150737}" srcOrd="6" destOrd="0" presId="urn:microsoft.com/office/officeart/2016/7/layout/LinearArrowProcessNumbered"/>
    <dgm:cxn modelId="{EAAC4B6D-AB69-4CA6-A3D3-832BD85D9300}" type="presParOf" srcId="{F5D6D07E-165A-4563-87E0-FBD0C7150737}" destId="{93F924AC-657D-48C9-A3BD-5F392B84A0D2}" srcOrd="0" destOrd="0" presId="urn:microsoft.com/office/officeart/2016/7/layout/LinearArrowProcessNumbered"/>
    <dgm:cxn modelId="{5E96F136-D3BE-49D1-8473-FC4396F5E4E9}" type="presParOf" srcId="{F5D6D07E-165A-4563-87E0-FBD0C7150737}" destId="{D1287D3D-0186-41AC-9BFB-E3014C6F2A0C}" srcOrd="1" destOrd="0" presId="urn:microsoft.com/office/officeart/2016/7/layout/LinearArrowProcessNumbered"/>
    <dgm:cxn modelId="{883F7601-4127-4BF4-82AA-5253FD83BD61}" type="presParOf" srcId="{D1287D3D-0186-41AC-9BFB-E3014C6F2A0C}" destId="{541B1AC1-E0D8-4DA3-9693-AF574AD410C7}" srcOrd="0" destOrd="0" presId="urn:microsoft.com/office/officeart/2016/7/layout/LinearArrowProcessNumbered"/>
    <dgm:cxn modelId="{C3ECA6DE-236E-40F8-97C9-0E13FF718D1E}" type="presParOf" srcId="{D1287D3D-0186-41AC-9BFB-E3014C6F2A0C}" destId="{8F12B39A-156E-4142-89BA-5363EFDDDE7A}" srcOrd="1" destOrd="0" presId="urn:microsoft.com/office/officeart/2016/7/layout/LinearArrowProcessNumbered"/>
    <dgm:cxn modelId="{5280EB5F-D60C-4F94-BA94-ADE18FDCE41E}" type="presParOf" srcId="{D1287D3D-0186-41AC-9BFB-E3014C6F2A0C}" destId="{F59BFEEC-CBFC-42E7-AC37-54ED890E9A63}" srcOrd="2" destOrd="0" presId="urn:microsoft.com/office/officeart/2016/7/layout/LinearArrowProcessNumbered"/>
    <dgm:cxn modelId="{7727EA3C-3547-4D33-A1C7-5FF7379D0BEF}" type="presParOf" srcId="{D1287D3D-0186-41AC-9BFB-E3014C6F2A0C}" destId="{8014DA9C-25BF-4772-B4E8-9D8090C56767}" srcOrd="3" destOrd="0" presId="urn:microsoft.com/office/officeart/2016/7/layout/LinearArrowProcessNumbered"/>
    <dgm:cxn modelId="{AD6D6AB3-E4E7-4DE2-A4AB-C0A63DDC90DC}" type="presParOf" srcId="{F5D6D07E-165A-4563-87E0-FBD0C7150737}" destId="{193D835A-B190-4097-BB37-EBD8EFCA5B58}"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6D18301-54A6-4D9F-9E1C-020EEFF69F0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C66CA87-8327-468B-BB10-C014C1DED6D9}">
      <dgm:prSet/>
      <dgm:spPr/>
      <dgm:t>
        <a:bodyPr/>
        <a:lstStyle/>
        <a:p>
          <a:r>
            <a:rPr lang="en-US" baseline="0"/>
            <a:t>Blocks products from purchase in public marketplace</a:t>
          </a:r>
          <a:endParaRPr lang="en-US"/>
        </a:p>
      </dgm:t>
    </dgm:pt>
    <dgm:pt modelId="{EAC8C7B4-5BF5-421F-9078-3BBDA8CA74A2}" type="parTrans" cxnId="{E0362C47-D760-4B1F-B2C4-7C7692559D98}">
      <dgm:prSet/>
      <dgm:spPr/>
      <dgm:t>
        <a:bodyPr/>
        <a:lstStyle/>
        <a:p>
          <a:endParaRPr lang="en-US"/>
        </a:p>
      </dgm:t>
    </dgm:pt>
    <dgm:pt modelId="{9149130B-8793-4396-A8F0-76004754F94A}" type="sibTrans" cxnId="{E0362C47-D760-4B1F-B2C4-7C7692559D98}">
      <dgm:prSet/>
      <dgm:spPr/>
      <dgm:t>
        <a:bodyPr/>
        <a:lstStyle/>
        <a:p>
          <a:endParaRPr lang="en-US"/>
        </a:p>
      </dgm:t>
    </dgm:pt>
    <dgm:pt modelId="{095E1885-0302-4B8D-AA0A-0C82C915876C}">
      <dgm:prSet/>
      <dgm:spPr/>
      <dgm:t>
        <a:bodyPr/>
        <a:lstStyle/>
        <a:p>
          <a:r>
            <a:rPr lang="en-US" baseline="0"/>
            <a:t>Users submit requests to add a product to the allowlist</a:t>
          </a:r>
          <a:endParaRPr lang="en-US"/>
        </a:p>
      </dgm:t>
    </dgm:pt>
    <dgm:pt modelId="{D7D9FFE1-73FD-4E12-BD8F-0758DBDBCA15}" type="parTrans" cxnId="{F696DC92-A9A6-4BB3-BCF3-443CC02B656D}">
      <dgm:prSet/>
      <dgm:spPr/>
      <dgm:t>
        <a:bodyPr/>
        <a:lstStyle/>
        <a:p>
          <a:endParaRPr lang="en-US"/>
        </a:p>
      </dgm:t>
    </dgm:pt>
    <dgm:pt modelId="{73E6F1A2-F736-4D7F-8865-641CB4885244}" type="sibTrans" cxnId="{F696DC92-A9A6-4BB3-BCF3-443CC02B656D}">
      <dgm:prSet/>
      <dgm:spPr/>
      <dgm:t>
        <a:bodyPr/>
        <a:lstStyle/>
        <a:p>
          <a:endParaRPr lang="en-US"/>
        </a:p>
      </dgm:t>
    </dgm:pt>
    <dgm:pt modelId="{C42C5D04-3DCD-4089-91D3-23BD192463CC}">
      <dgm:prSet/>
      <dgm:spPr/>
      <dgm:t>
        <a:bodyPr/>
        <a:lstStyle/>
        <a:p>
          <a:r>
            <a:rPr lang="en-US" baseline="0"/>
            <a:t>Marketplace administrator has authority to approve request</a:t>
          </a:r>
          <a:endParaRPr lang="en-US"/>
        </a:p>
      </dgm:t>
    </dgm:pt>
    <dgm:pt modelId="{6C132A7B-6CB0-4118-9619-2E4693B7CDB6}" type="parTrans" cxnId="{72EE663C-DBE1-4F82-9783-DD784A28284F}">
      <dgm:prSet/>
      <dgm:spPr/>
      <dgm:t>
        <a:bodyPr/>
        <a:lstStyle/>
        <a:p>
          <a:endParaRPr lang="en-US"/>
        </a:p>
      </dgm:t>
    </dgm:pt>
    <dgm:pt modelId="{4D0EAB66-3613-4956-A261-DD2FBCF19803}" type="sibTrans" cxnId="{72EE663C-DBE1-4F82-9783-DD784A28284F}">
      <dgm:prSet/>
      <dgm:spPr/>
      <dgm:t>
        <a:bodyPr/>
        <a:lstStyle/>
        <a:p>
          <a:endParaRPr lang="en-US"/>
        </a:p>
      </dgm:t>
    </dgm:pt>
    <dgm:pt modelId="{21614C71-2129-4E94-AA85-38275030D74B}">
      <dgm:prSet/>
      <dgm:spPr/>
      <dgm:t>
        <a:bodyPr/>
        <a:lstStyle/>
        <a:p>
          <a:r>
            <a:rPr lang="en-US" baseline="0"/>
            <a:t>Private offers can be automatically enabled, if configured to</a:t>
          </a:r>
          <a:endParaRPr lang="en-US"/>
        </a:p>
      </dgm:t>
    </dgm:pt>
    <dgm:pt modelId="{4EA00041-6060-4398-8E1D-D02689F050B6}" type="parTrans" cxnId="{42CA3C12-A7B5-4A5F-8288-35542AF64A49}">
      <dgm:prSet/>
      <dgm:spPr/>
      <dgm:t>
        <a:bodyPr/>
        <a:lstStyle/>
        <a:p>
          <a:endParaRPr lang="en-US"/>
        </a:p>
      </dgm:t>
    </dgm:pt>
    <dgm:pt modelId="{4E35D39C-BA92-483F-84AD-96A7B7ED05EA}" type="sibTrans" cxnId="{42CA3C12-A7B5-4A5F-8288-35542AF64A49}">
      <dgm:prSet/>
      <dgm:spPr/>
      <dgm:t>
        <a:bodyPr/>
        <a:lstStyle/>
        <a:p>
          <a:endParaRPr lang="en-US"/>
        </a:p>
      </dgm:t>
    </dgm:pt>
    <dgm:pt modelId="{4E273EAA-5A7C-4F54-AA0C-4CF1E19B2FBF}" type="pres">
      <dgm:prSet presAssocID="{A6D18301-54A6-4D9F-9E1C-020EEFF69F07}" presName="vert0" presStyleCnt="0">
        <dgm:presLayoutVars>
          <dgm:dir/>
          <dgm:animOne val="branch"/>
          <dgm:animLvl val="lvl"/>
        </dgm:presLayoutVars>
      </dgm:prSet>
      <dgm:spPr/>
    </dgm:pt>
    <dgm:pt modelId="{B0DBE902-140E-43C4-8CAE-B7EB3D2A7223}" type="pres">
      <dgm:prSet presAssocID="{DC66CA87-8327-468B-BB10-C014C1DED6D9}" presName="thickLine" presStyleLbl="alignNode1" presStyleIdx="0" presStyleCnt="4"/>
      <dgm:spPr/>
    </dgm:pt>
    <dgm:pt modelId="{AEA5C804-D5A4-4653-AA4C-B5BEF8724A56}" type="pres">
      <dgm:prSet presAssocID="{DC66CA87-8327-468B-BB10-C014C1DED6D9}" presName="horz1" presStyleCnt="0"/>
      <dgm:spPr/>
    </dgm:pt>
    <dgm:pt modelId="{E562DAD4-9FDC-45A9-9AE3-78751362B493}" type="pres">
      <dgm:prSet presAssocID="{DC66CA87-8327-468B-BB10-C014C1DED6D9}" presName="tx1" presStyleLbl="revTx" presStyleIdx="0" presStyleCnt="4"/>
      <dgm:spPr/>
    </dgm:pt>
    <dgm:pt modelId="{8C6B8F8C-C103-4E28-ABA3-8798AF443699}" type="pres">
      <dgm:prSet presAssocID="{DC66CA87-8327-468B-BB10-C014C1DED6D9}" presName="vert1" presStyleCnt="0"/>
      <dgm:spPr/>
    </dgm:pt>
    <dgm:pt modelId="{8EF03BD3-77B9-47AC-A999-C8C8C4C9C185}" type="pres">
      <dgm:prSet presAssocID="{095E1885-0302-4B8D-AA0A-0C82C915876C}" presName="thickLine" presStyleLbl="alignNode1" presStyleIdx="1" presStyleCnt="4"/>
      <dgm:spPr/>
    </dgm:pt>
    <dgm:pt modelId="{43F04D26-14D7-4B68-9720-4BC7F966F825}" type="pres">
      <dgm:prSet presAssocID="{095E1885-0302-4B8D-AA0A-0C82C915876C}" presName="horz1" presStyleCnt="0"/>
      <dgm:spPr/>
    </dgm:pt>
    <dgm:pt modelId="{8D0B2B12-A86F-44B5-85E0-CE99A74E8F85}" type="pres">
      <dgm:prSet presAssocID="{095E1885-0302-4B8D-AA0A-0C82C915876C}" presName="tx1" presStyleLbl="revTx" presStyleIdx="1" presStyleCnt="4"/>
      <dgm:spPr/>
    </dgm:pt>
    <dgm:pt modelId="{A84AF0EB-C4A7-4633-87AB-E3B556FEF417}" type="pres">
      <dgm:prSet presAssocID="{095E1885-0302-4B8D-AA0A-0C82C915876C}" presName="vert1" presStyleCnt="0"/>
      <dgm:spPr/>
    </dgm:pt>
    <dgm:pt modelId="{8398ADA1-D379-4DD1-8756-E9B8F775C25C}" type="pres">
      <dgm:prSet presAssocID="{C42C5D04-3DCD-4089-91D3-23BD192463CC}" presName="thickLine" presStyleLbl="alignNode1" presStyleIdx="2" presStyleCnt="4"/>
      <dgm:spPr/>
    </dgm:pt>
    <dgm:pt modelId="{EB49AD75-FB49-444D-8748-C35213DA4AA1}" type="pres">
      <dgm:prSet presAssocID="{C42C5D04-3DCD-4089-91D3-23BD192463CC}" presName="horz1" presStyleCnt="0"/>
      <dgm:spPr/>
    </dgm:pt>
    <dgm:pt modelId="{2797FAB6-F0C4-43DC-B314-AEBAAEFBC348}" type="pres">
      <dgm:prSet presAssocID="{C42C5D04-3DCD-4089-91D3-23BD192463CC}" presName="tx1" presStyleLbl="revTx" presStyleIdx="2" presStyleCnt="4"/>
      <dgm:spPr/>
    </dgm:pt>
    <dgm:pt modelId="{19657FB0-4802-4049-B479-777203F3EB30}" type="pres">
      <dgm:prSet presAssocID="{C42C5D04-3DCD-4089-91D3-23BD192463CC}" presName="vert1" presStyleCnt="0"/>
      <dgm:spPr/>
    </dgm:pt>
    <dgm:pt modelId="{CB3FE173-EA37-4B0F-AE25-C7F4DEE94519}" type="pres">
      <dgm:prSet presAssocID="{21614C71-2129-4E94-AA85-38275030D74B}" presName="thickLine" presStyleLbl="alignNode1" presStyleIdx="3" presStyleCnt="4"/>
      <dgm:spPr/>
    </dgm:pt>
    <dgm:pt modelId="{0041568D-DECE-4400-9A7F-5646F1E7DA99}" type="pres">
      <dgm:prSet presAssocID="{21614C71-2129-4E94-AA85-38275030D74B}" presName="horz1" presStyleCnt="0"/>
      <dgm:spPr/>
    </dgm:pt>
    <dgm:pt modelId="{7ED721C8-F77C-4A91-857C-106EBAF30D3C}" type="pres">
      <dgm:prSet presAssocID="{21614C71-2129-4E94-AA85-38275030D74B}" presName="tx1" presStyleLbl="revTx" presStyleIdx="3" presStyleCnt="4"/>
      <dgm:spPr/>
    </dgm:pt>
    <dgm:pt modelId="{B47A6A5C-004B-4BFA-BA52-CED7BBCBC46E}" type="pres">
      <dgm:prSet presAssocID="{21614C71-2129-4E94-AA85-38275030D74B}" presName="vert1" presStyleCnt="0"/>
      <dgm:spPr/>
    </dgm:pt>
  </dgm:ptLst>
  <dgm:cxnLst>
    <dgm:cxn modelId="{1882C207-5529-4D54-92AA-AEDDB3BB75F4}" type="presOf" srcId="{C42C5D04-3DCD-4089-91D3-23BD192463CC}" destId="{2797FAB6-F0C4-43DC-B314-AEBAAEFBC348}" srcOrd="0" destOrd="0" presId="urn:microsoft.com/office/officeart/2008/layout/LinedList"/>
    <dgm:cxn modelId="{42CA3C12-A7B5-4A5F-8288-35542AF64A49}" srcId="{A6D18301-54A6-4D9F-9E1C-020EEFF69F07}" destId="{21614C71-2129-4E94-AA85-38275030D74B}" srcOrd="3" destOrd="0" parTransId="{4EA00041-6060-4398-8E1D-D02689F050B6}" sibTransId="{4E35D39C-BA92-483F-84AD-96A7B7ED05EA}"/>
    <dgm:cxn modelId="{72EE663C-DBE1-4F82-9783-DD784A28284F}" srcId="{A6D18301-54A6-4D9F-9E1C-020EEFF69F07}" destId="{C42C5D04-3DCD-4089-91D3-23BD192463CC}" srcOrd="2" destOrd="0" parTransId="{6C132A7B-6CB0-4118-9619-2E4693B7CDB6}" sibTransId="{4D0EAB66-3613-4956-A261-DD2FBCF19803}"/>
    <dgm:cxn modelId="{040A915D-8BCE-4C9A-A32E-47C44CE0C44C}" type="presOf" srcId="{21614C71-2129-4E94-AA85-38275030D74B}" destId="{7ED721C8-F77C-4A91-857C-106EBAF30D3C}" srcOrd="0" destOrd="0" presId="urn:microsoft.com/office/officeart/2008/layout/LinedList"/>
    <dgm:cxn modelId="{E0362C47-D760-4B1F-B2C4-7C7692559D98}" srcId="{A6D18301-54A6-4D9F-9E1C-020EEFF69F07}" destId="{DC66CA87-8327-468B-BB10-C014C1DED6D9}" srcOrd="0" destOrd="0" parTransId="{EAC8C7B4-5BF5-421F-9078-3BBDA8CA74A2}" sibTransId="{9149130B-8793-4396-A8F0-76004754F94A}"/>
    <dgm:cxn modelId="{F696DC92-A9A6-4BB3-BCF3-443CC02B656D}" srcId="{A6D18301-54A6-4D9F-9E1C-020EEFF69F07}" destId="{095E1885-0302-4B8D-AA0A-0C82C915876C}" srcOrd="1" destOrd="0" parTransId="{D7D9FFE1-73FD-4E12-BD8F-0758DBDBCA15}" sibTransId="{73E6F1A2-F736-4D7F-8865-641CB4885244}"/>
    <dgm:cxn modelId="{21A75FA0-6B8D-4895-9E6E-5E02E27C216F}" type="presOf" srcId="{DC66CA87-8327-468B-BB10-C014C1DED6D9}" destId="{E562DAD4-9FDC-45A9-9AE3-78751362B493}" srcOrd="0" destOrd="0" presId="urn:microsoft.com/office/officeart/2008/layout/LinedList"/>
    <dgm:cxn modelId="{0555C7D6-E341-4679-91DD-2E0560B03014}" type="presOf" srcId="{A6D18301-54A6-4D9F-9E1C-020EEFF69F07}" destId="{4E273EAA-5A7C-4F54-AA0C-4CF1E19B2FBF}" srcOrd="0" destOrd="0" presId="urn:microsoft.com/office/officeart/2008/layout/LinedList"/>
    <dgm:cxn modelId="{148D73E7-27A3-4958-877A-C8B346B75F47}" type="presOf" srcId="{095E1885-0302-4B8D-AA0A-0C82C915876C}" destId="{8D0B2B12-A86F-44B5-85E0-CE99A74E8F85}" srcOrd="0" destOrd="0" presId="urn:microsoft.com/office/officeart/2008/layout/LinedList"/>
    <dgm:cxn modelId="{1B4AF0D9-5444-4DD5-8770-15B5CBCE2EB9}" type="presParOf" srcId="{4E273EAA-5A7C-4F54-AA0C-4CF1E19B2FBF}" destId="{B0DBE902-140E-43C4-8CAE-B7EB3D2A7223}" srcOrd="0" destOrd="0" presId="urn:microsoft.com/office/officeart/2008/layout/LinedList"/>
    <dgm:cxn modelId="{749DA30A-9429-4F90-8901-BD5B2383AFE3}" type="presParOf" srcId="{4E273EAA-5A7C-4F54-AA0C-4CF1E19B2FBF}" destId="{AEA5C804-D5A4-4653-AA4C-B5BEF8724A56}" srcOrd="1" destOrd="0" presId="urn:microsoft.com/office/officeart/2008/layout/LinedList"/>
    <dgm:cxn modelId="{FC774594-EDB0-4B96-9E45-1F006B1B7F4C}" type="presParOf" srcId="{AEA5C804-D5A4-4653-AA4C-B5BEF8724A56}" destId="{E562DAD4-9FDC-45A9-9AE3-78751362B493}" srcOrd="0" destOrd="0" presId="urn:microsoft.com/office/officeart/2008/layout/LinedList"/>
    <dgm:cxn modelId="{3E92274C-EC2D-4604-98FE-8928D6CA3765}" type="presParOf" srcId="{AEA5C804-D5A4-4653-AA4C-B5BEF8724A56}" destId="{8C6B8F8C-C103-4E28-ABA3-8798AF443699}" srcOrd="1" destOrd="0" presId="urn:microsoft.com/office/officeart/2008/layout/LinedList"/>
    <dgm:cxn modelId="{18936467-F162-4DD9-80C1-B775901E30AD}" type="presParOf" srcId="{4E273EAA-5A7C-4F54-AA0C-4CF1E19B2FBF}" destId="{8EF03BD3-77B9-47AC-A999-C8C8C4C9C185}" srcOrd="2" destOrd="0" presId="urn:microsoft.com/office/officeart/2008/layout/LinedList"/>
    <dgm:cxn modelId="{ADDD0DD8-0756-49A7-8839-9FA6A10890BB}" type="presParOf" srcId="{4E273EAA-5A7C-4F54-AA0C-4CF1E19B2FBF}" destId="{43F04D26-14D7-4B68-9720-4BC7F966F825}" srcOrd="3" destOrd="0" presId="urn:microsoft.com/office/officeart/2008/layout/LinedList"/>
    <dgm:cxn modelId="{67E3B294-EA54-4A4E-9724-717FB0ECA16E}" type="presParOf" srcId="{43F04D26-14D7-4B68-9720-4BC7F966F825}" destId="{8D0B2B12-A86F-44B5-85E0-CE99A74E8F85}" srcOrd="0" destOrd="0" presId="urn:microsoft.com/office/officeart/2008/layout/LinedList"/>
    <dgm:cxn modelId="{6C5C367F-14FF-4B3E-9E1D-A5F6746F599E}" type="presParOf" srcId="{43F04D26-14D7-4B68-9720-4BC7F966F825}" destId="{A84AF0EB-C4A7-4633-87AB-E3B556FEF417}" srcOrd="1" destOrd="0" presId="urn:microsoft.com/office/officeart/2008/layout/LinedList"/>
    <dgm:cxn modelId="{33817A91-817B-4493-A47E-9D7DB6CEAAD4}" type="presParOf" srcId="{4E273EAA-5A7C-4F54-AA0C-4CF1E19B2FBF}" destId="{8398ADA1-D379-4DD1-8756-E9B8F775C25C}" srcOrd="4" destOrd="0" presId="urn:microsoft.com/office/officeart/2008/layout/LinedList"/>
    <dgm:cxn modelId="{F1F4FB0F-8E5D-44F8-8885-70E879699A5F}" type="presParOf" srcId="{4E273EAA-5A7C-4F54-AA0C-4CF1E19B2FBF}" destId="{EB49AD75-FB49-444D-8748-C35213DA4AA1}" srcOrd="5" destOrd="0" presId="urn:microsoft.com/office/officeart/2008/layout/LinedList"/>
    <dgm:cxn modelId="{7244855E-43DF-47BA-BDA7-0A75DB8D9535}" type="presParOf" srcId="{EB49AD75-FB49-444D-8748-C35213DA4AA1}" destId="{2797FAB6-F0C4-43DC-B314-AEBAAEFBC348}" srcOrd="0" destOrd="0" presId="urn:microsoft.com/office/officeart/2008/layout/LinedList"/>
    <dgm:cxn modelId="{F295C87E-8585-402A-AB92-6CFFF425C92A}" type="presParOf" srcId="{EB49AD75-FB49-444D-8748-C35213DA4AA1}" destId="{19657FB0-4802-4049-B479-777203F3EB30}" srcOrd="1" destOrd="0" presId="urn:microsoft.com/office/officeart/2008/layout/LinedList"/>
    <dgm:cxn modelId="{A5E44110-CAD2-4C0E-B302-3E1E042369D8}" type="presParOf" srcId="{4E273EAA-5A7C-4F54-AA0C-4CF1E19B2FBF}" destId="{CB3FE173-EA37-4B0F-AE25-C7F4DEE94519}" srcOrd="6" destOrd="0" presId="urn:microsoft.com/office/officeart/2008/layout/LinedList"/>
    <dgm:cxn modelId="{1ECDA86F-D4DE-489D-A1BB-A77AC5A8FDB3}" type="presParOf" srcId="{4E273EAA-5A7C-4F54-AA0C-4CF1E19B2FBF}" destId="{0041568D-DECE-4400-9A7F-5646F1E7DA99}" srcOrd="7" destOrd="0" presId="urn:microsoft.com/office/officeart/2008/layout/LinedList"/>
    <dgm:cxn modelId="{313D5339-59AA-42DF-BD17-BB403CE8FAF1}" type="presParOf" srcId="{0041568D-DECE-4400-9A7F-5646F1E7DA99}" destId="{7ED721C8-F77C-4A91-857C-106EBAF30D3C}" srcOrd="0" destOrd="0" presId="urn:microsoft.com/office/officeart/2008/layout/LinedList"/>
    <dgm:cxn modelId="{DDDD0496-FE7C-4982-8DA1-1CE746F56EBC}" type="presParOf" srcId="{0041568D-DECE-4400-9A7F-5646F1E7DA99}" destId="{B47A6A5C-004B-4BFA-BA52-CED7BBCBC46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0D0D1F0-6593-4F77-A117-A6F63687C8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418E4E-003B-4691-B41A-34E015569CB3}">
      <dgm:prSet/>
      <dgm:spPr>
        <a:solidFill>
          <a:schemeClr val="accent2"/>
        </a:solidFill>
      </dgm:spPr>
      <dgm:t>
        <a:bodyPr/>
        <a:lstStyle/>
        <a:p>
          <a:r>
            <a:rPr lang="en-US" baseline="0"/>
            <a:t>Azure Marketplace Limitations</a:t>
          </a:r>
          <a:endParaRPr lang="en-US"/>
        </a:p>
      </dgm:t>
    </dgm:pt>
    <dgm:pt modelId="{25ACF0B4-0B30-41F6-97A6-CFAC35833A2B}" type="parTrans" cxnId="{898C4B83-7F64-4F02-B13C-9CAC0D415769}">
      <dgm:prSet/>
      <dgm:spPr/>
      <dgm:t>
        <a:bodyPr/>
        <a:lstStyle/>
        <a:p>
          <a:endParaRPr lang="en-US"/>
        </a:p>
      </dgm:t>
    </dgm:pt>
    <dgm:pt modelId="{D7652A6F-46E1-4CFB-958C-E099AE2274B6}" type="sibTrans" cxnId="{898C4B83-7F64-4F02-B13C-9CAC0D415769}">
      <dgm:prSet/>
      <dgm:spPr/>
      <dgm:t>
        <a:bodyPr/>
        <a:lstStyle/>
        <a:p>
          <a:endParaRPr lang="en-US"/>
        </a:p>
      </dgm:t>
    </dgm:pt>
    <dgm:pt modelId="{F1951E54-9E6E-4628-9C80-B38FFD0B2435}">
      <dgm:prSet/>
      <dgm:spPr>
        <a:solidFill>
          <a:schemeClr val="accent2">
            <a:lumMod val="20000"/>
            <a:lumOff val="80000"/>
            <a:alpha val="90000"/>
          </a:schemeClr>
        </a:solidFill>
      </dgm:spPr>
      <dgm:t>
        <a:bodyPr/>
        <a:lstStyle/>
        <a:p>
          <a:r>
            <a:rPr lang="en-US" baseline="0"/>
            <a:t>Role-based access control is within subscription</a:t>
          </a:r>
          <a:endParaRPr lang="en-US"/>
        </a:p>
      </dgm:t>
    </dgm:pt>
    <dgm:pt modelId="{4BC5F3DF-999F-43EF-8287-F494F4AA33AA}" type="parTrans" cxnId="{BE285303-E451-44BF-BCE7-BED529E8D7E7}">
      <dgm:prSet/>
      <dgm:spPr/>
      <dgm:t>
        <a:bodyPr/>
        <a:lstStyle/>
        <a:p>
          <a:endParaRPr lang="en-US"/>
        </a:p>
      </dgm:t>
    </dgm:pt>
    <dgm:pt modelId="{6342F0D6-5DEB-45BA-8837-AA79F8DEA2B4}" type="sibTrans" cxnId="{BE285303-E451-44BF-BCE7-BED529E8D7E7}">
      <dgm:prSet/>
      <dgm:spPr/>
      <dgm:t>
        <a:bodyPr/>
        <a:lstStyle/>
        <a:p>
          <a:endParaRPr lang="en-US"/>
        </a:p>
      </dgm:t>
    </dgm:pt>
    <dgm:pt modelId="{C598C45C-4963-4B62-B402-DD5A4BB5F082}">
      <dgm:prSet/>
      <dgm:spPr>
        <a:solidFill>
          <a:schemeClr val="accent2">
            <a:lumMod val="20000"/>
            <a:lumOff val="80000"/>
            <a:alpha val="90000"/>
          </a:schemeClr>
        </a:solidFill>
      </dgm:spPr>
      <dgm:t>
        <a:bodyPr/>
        <a:lstStyle/>
        <a:p>
          <a:r>
            <a:rPr lang="en-US" baseline="0"/>
            <a:t>Anyone with subscription owner/contributor permissions can purchase</a:t>
          </a:r>
          <a:endParaRPr lang="en-US"/>
        </a:p>
      </dgm:t>
    </dgm:pt>
    <dgm:pt modelId="{0E899BD2-301C-4E61-8A62-EEB0DFAEEE8F}" type="parTrans" cxnId="{EC03B0FC-14B0-4174-B2DB-052BED736E1D}">
      <dgm:prSet/>
      <dgm:spPr/>
      <dgm:t>
        <a:bodyPr/>
        <a:lstStyle/>
        <a:p>
          <a:endParaRPr lang="en-US"/>
        </a:p>
      </dgm:t>
    </dgm:pt>
    <dgm:pt modelId="{0D5F0143-754C-4698-9068-5FB0F093FD3B}" type="sibTrans" cxnId="{EC03B0FC-14B0-4174-B2DB-052BED736E1D}">
      <dgm:prSet/>
      <dgm:spPr/>
      <dgm:t>
        <a:bodyPr/>
        <a:lstStyle/>
        <a:p>
          <a:endParaRPr lang="en-US"/>
        </a:p>
      </dgm:t>
    </dgm:pt>
    <dgm:pt modelId="{4ECCC43C-D0C1-44BB-BC93-DD447DED33EB}">
      <dgm:prSet/>
      <dgm:spPr>
        <a:solidFill>
          <a:schemeClr val="accent2">
            <a:lumMod val="20000"/>
            <a:lumOff val="80000"/>
            <a:alpha val="90000"/>
          </a:schemeClr>
        </a:solidFill>
      </dgm:spPr>
      <dgm:t>
        <a:bodyPr/>
        <a:lstStyle/>
        <a:p>
          <a:r>
            <a:rPr lang="en-US" baseline="0"/>
            <a:t>No "out of the box" integration with enterprise procurement or workflow</a:t>
          </a:r>
          <a:endParaRPr lang="en-US"/>
        </a:p>
      </dgm:t>
    </dgm:pt>
    <dgm:pt modelId="{64DC84BD-6DD4-42EA-B8B0-A85178FEFAF7}" type="parTrans" cxnId="{28CF537D-988B-4039-9530-DF3757ADF455}">
      <dgm:prSet/>
      <dgm:spPr/>
      <dgm:t>
        <a:bodyPr/>
        <a:lstStyle/>
        <a:p>
          <a:endParaRPr lang="en-US"/>
        </a:p>
      </dgm:t>
    </dgm:pt>
    <dgm:pt modelId="{3CAA3943-6853-4BF9-9DD9-0FC3A4B87964}" type="sibTrans" cxnId="{28CF537D-988B-4039-9530-DF3757ADF455}">
      <dgm:prSet/>
      <dgm:spPr/>
      <dgm:t>
        <a:bodyPr/>
        <a:lstStyle/>
        <a:p>
          <a:endParaRPr lang="en-US"/>
        </a:p>
      </dgm:t>
    </dgm:pt>
    <dgm:pt modelId="{2BF40411-C4C7-47E7-A1B5-43A19D37EE0E}">
      <dgm:prSet/>
      <dgm:spPr>
        <a:solidFill>
          <a:schemeClr val="accent2"/>
        </a:solidFill>
      </dgm:spPr>
      <dgm:t>
        <a:bodyPr/>
        <a:lstStyle/>
        <a:p>
          <a:r>
            <a:rPr lang="en-US" baseline="0"/>
            <a:t>Organization must adhere to procurement policies and procedures</a:t>
          </a:r>
          <a:endParaRPr lang="en-US"/>
        </a:p>
      </dgm:t>
    </dgm:pt>
    <dgm:pt modelId="{AB1156D9-1B36-4951-B650-04290E6FEE32}" type="parTrans" cxnId="{3F4EE81D-6828-4514-9F69-971EE815E913}">
      <dgm:prSet/>
      <dgm:spPr/>
      <dgm:t>
        <a:bodyPr/>
        <a:lstStyle/>
        <a:p>
          <a:endParaRPr lang="en-US"/>
        </a:p>
      </dgm:t>
    </dgm:pt>
    <dgm:pt modelId="{EFE02CC9-4E05-437D-90B3-A69887EDD5A3}" type="sibTrans" cxnId="{3F4EE81D-6828-4514-9F69-971EE815E913}">
      <dgm:prSet/>
      <dgm:spPr/>
      <dgm:t>
        <a:bodyPr/>
        <a:lstStyle/>
        <a:p>
          <a:endParaRPr lang="en-US"/>
        </a:p>
      </dgm:t>
    </dgm:pt>
    <dgm:pt modelId="{C2F80E1F-6628-477E-8243-650D05AC1153}">
      <dgm:prSet/>
      <dgm:spPr>
        <a:solidFill>
          <a:schemeClr val="accent2">
            <a:lumMod val="20000"/>
            <a:lumOff val="80000"/>
            <a:alpha val="90000"/>
          </a:schemeClr>
        </a:solidFill>
      </dgm:spPr>
      <dgm:t>
        <a:bodyPr/>
        <a:lstStyle/>
        <a:p>
          <a:r>
            <a:rPr lang="en-US" baseline="0"/>
            <a:t>Must be managed externally to the Azure portal</a:t>
          </a:r>
          <a:endParaRPr lang="en-US"/>
        </a:p>
      </dgm:t>
    </dgm:pt>
    <dgm:pt modelId="{27FE5C79-7E8A-4566-8896-AE9525CC23F3}" type="parTrans" cxnId="{6794B163-9A28-4A7C-8F59-EF2290271D5E}">
      <dgm:prSet/>
      <dgm:spPr/>
      <dgm:t>
        <a:bodyPr/>
        <a:lstStyle/>
        <a:p>
          <a:endParaRPr lang="en-US"/>
        </a:p>
      </dgm:t>
    </dgm:pt>
    <dgm:pt modelId="{553E2425-0FFB-45A5-B7A6-EE9C96AE0A44}" type="sibTrans" cxnId="{6794B163-9A28-4A7C-8F59-EF2290271D5E}">
      <dgm:prSet/>
      <dgm:spPr/>
      <dgm:t>
        <a:bodyPr/>
        <a:lstStyle/>
        <a:p>
          <a:endParaRPr lang="en-US"/>
        </a:p>
      </dgm:t>
    </dgm:pt>
    <dgm:pt modelId="{211B19DC-D5A5-4A01-A9EB-E9BF1C6231B3}">
      <dgm:prSet/>
      <dgm:spPr>
        <a:solidFill>
          <a:schemeClr val="accent2">
            <a:lumMod val="20000"/>
            <a:lumOff val="80000"/>
            <a:alpha val="90000"/>
          </a:schemeClr>
        </a:solidFill>
      </dgm:spPr>
      <dgm:t>
        <a:bodyPr/>
        <a:lstStyle/>
        <a:p>
          <a:r>
            <a:rPr lang="en-US" baseline="0"/>
            <a:t>Examples: Identifying who authorizes purchases</a:t>
          </a:r>
          <a:endParaRPr lang="en-US"/>
        </a:p>
      </dgm:t>
    </dgm:pt>
    <dgm:pt modelId="{2E277110-5B48-4F3A-9CC3-20BA78096625}" type="parTrans" cxnId="{8DB5D4D1-7DBD-4EB4-8ED0-5DEE9CDCF52E}">
      <dgm:prSet/>
      <dgm:spPr/>
      <dgm:t>
        <a:bodyPr/>
        <a:lstStyle/>
        <a:p>
          <a:endParaRPr lang="en-US"/>
        </a:p>
      </dgm:t>
    </dgm:pt>
    <dgm:pt modelId="{FF6B3FA0-E971-48C0-822A-CDA708380DE9}" type="sibTrans" cxnId="{8DB5D4D1-7DBD-4EB4-8ED0-5DEE9CDCF52E}">
      <dgm:prSet/>
      <dgm:spPr/>
      <dgm:t>
        <a:bodyPr/>
        <a:lstStyle/>
        <a:p>
          <a:endParaRPr lang="en-US"/>
        </a:p>
      </dgm:t>
    </dgm:pt>
    <dgm:pt modelId="{B739AD5A-0DBC-4F93-B8B6-78A3FD305EC6}">
      <dgm:prSet/>
      <dgm:spPr>
        <a:solidFill>
          <a:schemeClr val="accent2">
            <a:lumMod val="20000"/>
            <a:lumOff val="80000"/>
            <a:alpha val="90000"/>
          </a:schemeClr>
        </a:solidFill>
      </dgm:spPr>
      <dgm:t>
        <a:bodyPr/>
        <a:lstStyle/>
        <a:p>
          <a:r>
            <a:rPr lang="en-US" baseline="0"/>
            <a:t>Established approval hierarchies</a:t>
          </a:r>
          <a:endParaRPr lang="en-US"/>
        </a:p>
      </dgm:t>
    </dgm:pt>
    <dgm:pt modelId="{1C978DD7-3440-42FB-9456-631D7104E094}" type="parTrans" cxnId="{2F3E380B-B9D1-4D3A-A1DA-7305A551D365}">
      <dgm:prSet/>
      <dgm:spPr/>
      <dgm:t>
        <a:bodyPr/>
        <a:lstStyle/>
        <a:p>
          <a:endParaRPr lang="en-US"/>
        </a:p>
      </dgm:t>
    </dgm:pt>
    <dgm:pt modelId="{08C13686-F47A-42CD-9659-8862AF27AC87}" type="sibTrans" cxnId="{2F3E380B-B9D1-4D3A-A1DA-7305A551D365}">
      <dgm:prSet/>
      <dgm:spPr/>
      <dgm:t>
        <a:bodyPr/>
        <a:lstStyle/>
        <a:p>
          <a:endParaRPr lang="en-US"/>
        </a:p>
      </dgm:t>
    </dgm:pt>
    <dgm:pt modelId="{D12C46BC-89EC-41A0-B0B0-26EF8613136A}">
      <dgm:prSet/>
      <dgm:spPr>
        <a:solidFill>
          <a:schemeClr val="accent2">
            <a:lumMod val="20000"/>
            <a:lumOff val="80000"/>
            <a:alpha val="90000"/>
          </a:schemeClr>
        </a:solidFill>
      </dgm:spPr>
      <dgm:t>
        <a:bodyPr/>
        <a:lstStyle/>
        <a:p>
          <a:r>
            <a:rPr lang="en-US" baseline="0"/>
            <a:t>Determination of who executes purchase</a:t>
          </a:r>
          <a:endParaRPr lang="en-US"/>
        </a:p>
      </dgm:t>
    </dgm:pt>
    <dgm:pt modelId="{BDADECA5-18E5-424B-8327-6919469372EF}" type="parTrans" cxnId="{7DABD7B6-D0FC-4C1D-B27C-19903A4C4FC5}">
      <dgm:prSet/>
      <dgm:spPr/>
      <dgm:t>
        <a:bodyPr/>
        <a:lstStyle/>
        <a:p>
          <a:endParaRPr lang="en-US"/>
        </a:p>
      </dgm:t>
    </dgm:pt>
    <dgm:pt modelId="{A9F7189A-D2E9-4261-8D4E-EA9CF6FBF52F}" type="sibTrans" cxnId="{7DABD7B6-D0FC-4C1D-B27C-19903A4C4FC5}">
      <dgm:prSet/>
      <dgm:spPr/>
      <dgm:t>
        <a:bodyPr/>
        <a:lstStyle/>
        <a:p>
          <a:endParaRPr lang="en-US"/>
        </a:p>
      </dgm:t>
    </dgm:pt>
    <dgm:pt modelId="{23890282-9A25-4F84-8477-BFE7FCB7F881}" type="pres">
      <dgm:prSet presAssocID="{D0D0D1F0-6593-4F77-A117-A6F63687C847}" presName="Name0" presStyleCnt="0">
        <dgm:presLayoutVars>
          <dgm:dir/>
          <dgm:animLvl val="lvl"/>
          <dgm:resizeHandles val="exact"/>
        </dgm:presLayoutVars>
      </dgm:prSet>
      <dgm:spPr/>
    </dgm:pt>
    <dgm:pt modelId="{15B4DAEB-3AE4-4BF7-9685-2B2318A913A0}" type="pres">
      <dgm:prSet presAssocID="{B6418E4E-003B-4691-B41A-34E015569CB3}" presName="linNode" presStyleCnt="0"/>
      <dgm:spPr/>
    </dgm:pt>
    <dgm:pt modelId="{C17A61C0-9B07-499E-93CE-8DBF948A5B72}" type="pres">
      <dgm:prSet presAssocID="{B6418E4E-003B-4691-B41A-34E015569CB3}" presName="parentText" presStyleLbl="node1" presStyleIdx="0" presStyleCnt="2">
        <dgm:presLayoutVars>
          <dgm:chMax val="1"/>
          <dgm:bulletEnabled val="1"/>
        </dgm:presLayoutVars>
      </dgm:prSet>
      <dgm:spPr/>
    </dgm:pt>
    <dgm:pt modelId="{EBFD211D-10BB-400E-BC0C-3BDFB2F913A8}" type="pres">
      <dgm:prSet presAssocID="{B6418E4E-003B-4691-B41A-34E015569CB3}" presName="descendantText" presStyleLbl="alignAccFollowNode1" presStyleIdx="0" presStyleCnt="2">
        <dgm:presLayoutVars>
          <dgm:bulletEnabled val="1"/>
        </dgm:presLayoutVars>
      </dgm:prSet>
      <dgm:spPr/>
    </dgm:pt>
    <dgm:pt modelId="{AF77CBDB-5AD4-4FF0-AAE4-7DA7BB7283CE}" type="pres">
      <dgm:prSet presAssocID="{D7652A6F-46E1-4CFB-958C-E099AE2274B6}" presName="sp" presStyleCnt="0"/>
      <dgm:spPr/>
    </dgm:pt>
    <dgm:pt modelId="{9CE3F98D-3703-4808-B59E-E8AE31E27BE7}" type="pres">
      <dgm:prSet presAssocID="{2BF40411-C4C7-47E7-A1B5-43A19D37EE0E}" presName="linNode" presStyleCnt="0"/>
      <dgm:spPr/>
    </dgm:pt>
    <dgm:pt modelId="{6611B5D6-ABA5-419E-B96D-0DE591D8C5FE}" type="pres">
      <dgm:prSet presAssocID="{2BF40411-C4C7-47E7-A1B5-43A19D37EE0E}" presName="parentText" presStyleLbl="node1" presStyleIdx="1" presStyleCnt="2">
        <dgm:presLayoutVars>
          <dgm:chMax val="1"/>
          <dgm:bulletEnabled val="1"/>
        </dgm:presLayoutVars>
      </dgm:prSet>
      <dgm:spPr/>
    </dgm:pt>
    <dgm:pt modelId="{00CF4A83-DEB6-4C79-A309-E1F6386EADA4}" type="pres">
      <dgm:prSet presAssocID="{2BF40411-C4C7-47E7-A1B5-43A19D37EE0E}" presName="descendantText" presStyleLbl="alignAccFollowNode1" presStyleIdx="1" presStyleCnt="2">
        <dgm:presLayoutVars>
          <dgm:bulletEnabled val="1"/>
        </dgm:presLayoutVars>
      </dgm:prSet>
      <dgm:spPr/>
    </dgm:pt>
  </dgm:ptLst>
  <dgm:cxnLst>
    <dgm:cxn modelId="{BE285303-E451-44BF-BCE7-BED529E8D7E7}" srcId="{B6418E4E-003B-4691-B41A-34E015569CB3}" destId="{F1951E54-9E6E-4628-9C80-B38FFD0B2435}" srcOrd="0" destOrd="0" parTransId="{4BC5F3DF-999F-43EF-8287-F494F4AA33AA}" sibTransId="{6342F0D6-5DEB-45BA-8837-AA79F8DEA2B4}"/>
    <dgm:cxn modelId="{2F3E380B-B9D1-4D3A-A1DA-7305A551D365}" srcId="{C2F80E1F-6628-477E-8243-650D05AC1153}" destId="{B739AD5A-0DBC-4F93-B8B6-78A3FD305EC6}" srcOrd="1" destOrd="0" parTransId="{1C978DD7-3440-42FB-9456-631D7104E094}" sibTransId="{08C13686-F47A-42CD-9659-8862AF27AC87}"/>
    <dgm:cxn modelId="{3F4EE81D-6828-4514-9F69-971EE815E913}" srcId="{D0D0D1F0-6593-4F77-A117-A6F63687C847}" destId="{2BF40411-C4C7-47E7-A1B5-43A19D37EE0E}" srcOrd="1" destOrd="0" parTransId="{AB1156D9-1B36-4951-B650-04290E6FEE32}" sibTransId="{EFE02CC9-4E05-437D-90B3-A69887EDD5A3}"/>
    <dgm:cxn modelId="{C9459C27-8DD2-444B-879D-00A681A1B02A}" type="presOf" srcId="{C2F80E1F-6628-477E-8243-650D05AC1153}" destId="{00CF4A83-DEB6-4C79-A309-E1F6386EADA4}" srcOrd="0" destOrd="0" presId="urn:microsoft.com/office/officeart/2005/8/layout/vList5"/>
    <dgm:cxn modelId="{437B7035-D72C-43CC-AF99-173C631F6B0C}" type="presOf" srcId="{2BF40411-C4C7-47E7-A1B5-43A19D37EE0E}" destId="{6611B5D6-ABA5-419E-B96D-0DE591D8C5FE}" srcOrd="0" destOrd="0" presId="urn:microsoft.com/office/officeart/2005/8/layout/vList5"/>
    <dgm:cxn modelId="{69E08542-4673-43BE-AC1B-39F458D54457}" type="presOf" srcId="{4ECCC43C-D0C1-44BB-BC93-DD447DED33EB}" destId="{EBFD211D-10BB-400E-BC0C-3BDFB2F913A8}" srcOrd="0" destOrd="2" presId="urn:microsoft.com/office/officeart/2005/8/layout/vList5"/>
    <dgm:cxn modelId="{6794B163-9A28-4A7C-8F59-EF2290271D5E}" srcId="{2BF40411-C4C7-47E7-A1B5-43A19D37EE0E}" destId="{C2F80E1F-6628-477E-8243-650D05AC1153}" srcOrd="0" destOrd="0" parTransId="{27FE5C79-7E8A-4566-8896-AE9525CC23F3}" sibTransId="{553E2425-0FFB-45A5-B7A6-EE9C96AE0A44}"/>
    <dgm:cxn modelId="{B6C92E70-74FE-468E-A9B9-5C5C29AED4B0}" type="presOf" srcId="{B6418E4E-003B-4691-B41A-34E015569CB3}" destId="{C17A61C0-9B07-499E-93CE-8DBF948A5B72}" srcOrd="0" destOrd="0" presId="urn:microsoft.com/office/officeart/2005/8/layout/vList5"/>
    <dgm:cxn modelId="{17F0B372-71D2-41BD-8893-7DB4FD8CD2F6}" type="presOf" srcId="{F1951E54-9E6E-4628-9C80-B38FFD0B2435}" destId="{EBFD211D-10BB-400E-BC0C-3BDFB2F913A8}" srcOrd="0" destOrd="0" presId="urn:microsoft.com/office/officeart/2005/8/layout/vList5"/>
    <dgm:cxn modelId="{28CF537D-988B-4039-9530-DF3757ADF455}" srcId="{B6418E4E-003B-4691-B41A-34E015569CB3}" destId="{4ECCC43C-D0C1-44BB-BC93-DD447DED33EB}" srcOrd="2" destOrd="0" parTransId="{64DC84BD-6DD4-42EA-B8B0-A85178FEFAF7}" sibTransId="{3CAA3943-6853-4BF9-9DD9-0FC3A4B87964}"/>
    <dgm:cxn modelId="{898C4B83-7F64-4F02-B13C-9CAC0D415769}" srcId="{D0D0D1F0-6593-4F77-A117-A6F63687C847}" destId="{B6418E4E-003B-4691-B41A-34E015569CB3}" srcOrd="0" destOrd="0" parTransId="{25ACF0B4-0B30-41F6-97A6-CFAC35833A2B}" sibTransId="{D7652A6F-46E1-4CFB-958C-E099AE2274B6}"/>
    <dgm:cxn modelId="{9BD3FC8B-BB34-4C1A-94C9-530570A6F8A3}" type="presOf" srcId="{B739AD5A-0DBC-4F93-B8B6-78A3FD305EC6}" destId="{00CF4A83-DEB6-4C79-A309-E1F6386EADA4}" srcOrd="0" destOrd="2" presId="urn:microsoft.com/office/officeart/2005/8/layout/vList5"/>
    <dgm:cxn modelId="{3FA4CD9A-627E-4231-8884-C2E94428D742}" type="presOf" srcId="{211B19DC-D5A5-4A01-A9EB-E9BF1C6231B3}" destId="{00CF4A83-DEB6-4C79-A309-E1F6386EADA4}" srcOrd="0" destOrd="1" presId="urn:microsoft.com/office/officeart/2005/8/layout/vList5"/>
    <dgm:cxn modelId="{A0DBBAA2-967D-4FEA-A4ED-5F29A55EB0E2}" type="presOf" srcId="{D12C46BC-89EC-41A0-B0B0-26EF8613136A}" destId="{00CF4A83-DEB6-4C79-A309-E1F6386EADA4}" srcOrd="0" destOrd="3" presId="urn:microsoft.com/office/officeart/2005/8/layout/vList5"/>
    <dgm:cxn modelId="{7DABD7B6-D0FC-4C1D-B27C-19903A4C4FC5}" srcId="{C2F80E1F-6628-477E-8243-650D05AC1153}" destId="{D12C46BC-89EC-41A0-B0B0-26EF8613136A}" srcOrd="2" destOrd="0" parTransId="{BDADECA5-18E5-424B-8327-6919469372EF}" sibTransId="{A9F7189A-D2E9-4261-8D4E-EA9CF6FBF52F}"/>
    <dgm:cxn modelId="{FCBB0BBF-1234-4325-AB51-62D93AA190B6}" type="presOf" srcId="{D0D0D1F0-6593-4F77-A117-A6F63687C847}" destId="{23890282-9A25-4F84-8477-BFE7FCB7F881}" srcOrd="0" destOrd="0" presId="urn:microsoft.com/office/officeart/2005/8/layout/vList5"/>
    <dgm:cxn modelId="{8DB5D4D1-7DBD-4EB4-8ED0-5DEE9CDCF52E}" srcId="{C2F80E1F-6628-477E-8243-650D05AC1153}" destId="{211B19DC-D5A5-4A01-A9EB-E9BF1C6231B3}" srcOrd="0" destOrd="0" parTransId="{2E277110-5B48-4F3A-9CC3-20BA78096625}" sibTransId="{FF6B3FA0-E971-48C0-822A-CDA708380DE9}"/>
    <dgm:cxn modelId="{400C87D8-33D9-4CD8-A3B3-29D57C7BD719}" type="presOf" srcId="{C598C45C-4963-4B62-B402-DD5A4BB5F082}" destId="{EBFD211D-10BB-400E-BC0C-3BDFB2F913A8}" srcOrd="0" destOrd="1" presId="urn:microsoft.com/office/officeart/2005/8/layout/vList5"/>
    <dgm:cxn modelId="{EC03B0FC-14B0-4174-B2DB-052BED736E1D}" srcId="{B6418E4E-003B-4691-B41A-34E015569CB3}" destId="{C598C45C-4963-4B62-B402-DD5A4BB5F082}" srcOrd="1" destOrd="0" parTransId="{0E899BD2-301C-4E61-8A62-EEB0DFAEEE8F}" sibTransId="{0D5F0143-754C-4698-9068-5FB0F093FD3B}"/>
    <dgm:cxn modelId="{DC09AE86-E17C-4C83-A49D-67BCF0D7ACB5}" type="presParOf" srcId="{23890282-9A25-4F84-8477-BFE7FCB7F881}" destId="{15B4DAEB-3AE4-4BF7-9685-2B2318A913A0}" srcOrd="0" destOrd="0" presId="urn:microsoft.com/office/officeart/2005/8/layout/vList5"/>
    <dgm:cxn modelId="{2E46D4AC-02EC-4AA5-914D-26869AD5DDF8}" type="presParOf" srcId="{15B4DAEB-3AE4-4BF7-9685-2B2318A913A0}" destId="{C17A61C0-9B07-499E-93CE-8DBF948A5B72}" srcOrd="0" destOrd="0" presId="urn:microsoft.com/office/officeart/2005/8/layout/vList5"/>
    <dgm:cxn modelId="{5FD9F2C1-CFB2-402B-8C58-4E2F2C717FAB}" type="presParOf" srcId="{15B4DAEB-3AE4-4BF7-9685-2B2318A913A0}" destId="{EBFD211D-10BB-400E-BC0C-3BDFB2F913A8}" srcOrd="1" destOrd="0" presId="urn:microsoft.com/office/officeart/2005/8/layout/vList5"/>
    <dgm:cxn modelId="{50E56945-57C5-4A72-BD0F-F5EBC89A4162}" type="presParOf" srcId="{23890282-9A25-4F84-8477-BFE7FCB7F881}" destId="{AF77CBDB-5AD4-4FF0-AAE4-7DA7BB7283CE}" srcOrd="1" destOrd="0" presId="urn:microsoft.com/office/officeart/2005/8/layout/vList5"/>
    <dgm:cxn modelId="{B93AE286-0687-4F6E-A675-3329C5FD14F7}" type="presParOf" srcId="{23890282-9A25-4F84-8477-BFE7FCB7F881}" destId="{9CE3F98D-3703-4808-B59E-E8AE31E27BE7}" srcOrd="2" destOrd="0" presId="urn:microsoft.com/office/officeart/2005/8/layout/vList5"/>
    <dgm:cxn modelId="{76ECE84A-01C5-4D04-93AC-5ECEE5EB6272}" type="presParOf" srcId="{9CE3F98D-3703-4808-B59E-E8AE31E27BE7}" destId="{6611B5D6-ABA5-419E-B96D-0DE591D8C5FE}" srcOrd="0" destOrd="0" presId="urn:microsoft.com/office/officeart/2005/8/layout/vList5"/>
    <dgm:cxn modelId="{C5C238E3-A62B-454F-8441-4092AA3AD3C6}" type="presParOf" srcId="{9CE3F98D-3703-4808-B59E-E8AE31E27BE7}" destId="{00CF4A83-DEB6-4C79-A309-E1F6386EAD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phldr="1"/>
      <dgm:spPr/>
      <dgm:t>
        <a:bodyPr/>
        <a:lstStyle/>
        <a:p>
          <a:endParaRPr lang="en-US"/>
        </a:p>
      </dgm:t>
    </dgm:pt>
    <dgm:pt modelId="{51A7BD30-DF04-4C26-BB4E-C3E82F3A3665}">
      <dgm:prSet/>
      <dgm:spPr/>
      <dgm:t>
        <a:bodyPr/>
        <a:lstStyle/>
        <a:p>
          <a:r>
            <a:rPr lang="en-US" dirty="0"/>
            <a:t>Go to th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phldr="1"/>
      <dgm:spPr/>
      <dgm:t>
        <a:bodyPr/>
        <a:lstStyle/>
        <a:p>
          <a:endParaRPr lang="en-US"/>
        </a:p>
      </dgm:t>
    </dgm:pt>
    <dgm:pt modelId="{AFAD1D2C-C1CD-41AA-84C0-711DC114A24B}">
      <dgm:prSet/>
      <dgm:spPr/>
      <dgm:t>
        <a:bodyPr/>
        <a:lstStyle/>
        <a:p>
          <a:r>
            <a:rPr lang="en-US" dirty="0"/>
            <a:t>Go to th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a:t>Listing (Contact Me)</a:t>
          </a:r>
          <a:endParaRPr lang="en-US"/>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a:t>Free Trial</a:t>
          </a:r>
          <a:endParaRPr lang="en-US"/>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a:t>Bring Your Own License (BYOL) - Get it Now</a:t>
          </a:r>
          <a:endParaRPr lang="en-US"/>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a:t>Transaction – Get it Now</a:t>
          </a:r>
          <a:endParaRPr lang="en-US"/>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a:t>Bill to Microsoft account</a:t>
          </a:r>
          <a:endParaRPr lang="en-US"/>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a:t>Process with credit card</a:t>
          </a:r>
          <a:endParaRPr lang="en-US"/>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dirty="0"/>
            <a:t>Have correct role assignment to purchase</a:t>
          </a:r>
          <a:endParaRPr lang="en-US" dirty="0"/>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dirty="0"/>
            <a:t>Have permission to purchase from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dirty="0"/>
            <a:t>Have permission to purchase from Marketplace</a:t>
          </a:r>
          <a:endParaRPr lang="en-US" sz="2500" kern="1200" dirty="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dirty="0"/>
            <a:t>Microsoft partner solutions may be in Microsoft portals on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4A9AB-47D7-4AAC-82AD-B40F8998EDDA}">
      <dsp:nvSpPr>
        <dsp:cNvPr id="0" name=""/>
        <dsp:cNvSpPr/>
      </dsp:nvSpPr>
      <dsp:spPr>
        <a:xfrm>
          <a:off x="0" y="352233"/>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Accept</a:t>
          </a:r>
          <a:endParaRPr lang="en-US" sz="1700" kern="1200"/>
        </a:p>
        <a:p>
          <a:pPr marL="171450" lvl="1" indent="-171450" algn="l" defTabSz="755650">
            <a:lnSpc>
              <a:spcPct val="90000"/>
            </a:lnSpc>
            <a:spcBef>
              <a:spcPct val="0"/>
            </a:spcBef>
            <a:spcAft>
              <a:spcPct val="15000"/>
            </a:spcAft>
            <a:buChar char="•"/>
          </a:pPr>
          <a:r>
            <a:rPr lang="en-US" sz="1700" kern="1200" baseline="0"/>
            <a:t>Purchase</a:t>
          </a:r>
          <a:endParaRPr lang="en-US" sz="1700" kern="1200"/>
        </a:p>
      </dsp:txBody>
      <dsp:txXfrm>
        <a:off x="0" y="352233"/>
        <a:ext cx="11018837" cy="1044225"/>
      </dsp:txXfrm>
    </dsp:sp>
    <dsp:sp modelId="{35B8B9FC-FC2F-48D1-8D16-AD533F24C4B6}">
      <dsp:nvSpPr>
        <dsp:cNvPr id="0" name=""/>
        <dsp:cNvSpPr/>
      </dsp:nvSpPr>
      <dsp:spPr>
        <a:xfrm>
          <a:off x="550941" y="10131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Two steps for purchase private offers:</a:t>
          </a:r>
          <a:endParaRPr lang="en-US" sz="1700" kern="1200"/>
        </a:p>
      </dsp:txBody>
      <dsp:txXfrm>
        <a:off x="575439" y="125811"/>
        <a:ext cx="7664190" cy="452844"/>
      </dsp:txXfrm>
    </dsp:sp>
    <dsp:sp modelId="{4463158C-EC9F-489E-9836-2A7B1CB462AF}">
      <dsp:nvSpPr>
        <dsp:cNvPr id="0" name=""/>
        <dsp:cNvSpPr/>
      </dsp:nvSpPr>
      <dsp:spPr>
        <a:xfrm>
          <a:off x="0" y="1739179"/>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Completed in publisher's portal</a:t>
          </a:r>
          <a:endParaRPr lang="en-US" sz="1700" kern="1200"/>
        </a:p>
        <a:p>
          <a:pPr marL="171450" lvl="1" indent="-171450" algn="l" defTabSz="755650">
            <a:lnSpc>
              <a:spcPct val="90000"/>
            </a:lnSpc>
            <a:spcBef>
              <a:spcPct val="0"/>
            </a:spcBef>
            <a:spcAft>
              <a:spcPct val="15000"/>
            </a:spcAft>
            <a:buChar char="•"/>
          </a:pPr>
          <a:r>
            <a:rPr lang="en-US" sz="1700" kern="1200" baseline="0"/>
            <a:t>Requires Entra ID (Azure Active Directory) permissions</a:t>
          </a:r>
          <a:endParaRPr lang="en-US" sz="1700" kern="1200"/>
        </a:p>
      </dsp:txBody>
      <dsp:txXfrm>
        <a:off x="0" y="1739179"/>
        <a:ext cx="11018837" cy="1044225"/>
      </dsp:txXfrm>
    </dsp:sp>
    <dsp:sp modelId="{CDE54510-D1F2-44F3-BA3A-F9CEC9431F7F}">
      <dsp:nvSpPr>
        <dsp:cNvPr id="0" name=""/>
        <dsp:cNvSpPr/>
      </dsp:nvSpPr>
      <dsp:spPr>
        <a:xfrm>
          <a:off x="550941" y="1488258"/>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SaaS subscriptions</a:t>
          </a:r>
          <a:endParaRPr lang="en-US" sz="1700" kern="1200"/>
        </a:p>
      </dsp:txBody>
      <dsp:txXfrm>
        <a:off x="575439" y="1512756"/>
        <a:ext cx="7664190" cy="452844"/>
      </dsp:txXfrm>
    </dsp:sp>
    <dsp:sp modelId="{416B9D5B-018B-4AD8-95F9-F3A46DF79AF1}">
      <dsp:nvSpPr>
        <dsp:cNvPr id="0" name=""/>
        <dsp:cNvSpPr/>
      </dsp:nvSpPr>
      <dsp:spPr>
        <a:xfrm>
          <a:off x="0" y="3126123"/>
          <a:ext cx="11018837" cy="16065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arketplace private offers precheck tool (</a:t>
          </a:r>
          <a:r>
            <a:rPr lang="en-US" sz="1700" kern="1200" baseline="0">
              <a:hlinkClick xmlns:r="http://schemas.openxmlformats.org/officeDocument/2006/relationships" r:id="rId1"/>
            </a:rPr>
            <a:t>https://learn.microsoft.com/en-us/marketplace/private-offers-pre-check</a:t>
          </a:r>
          <a:r>
            <a:rPr lang="en-US" sz="1700" kern="1200" baseline="0"/>
            <a:t>)</a:t>
          </a:r>
          <a:endParaRPr lang="en-US" sz="1700" kern="1200"/>
        </a:p>
        <a:p>
          <a:pPr marL="171450" lvl="1" indent="-171450" algn="l" defTabSz="755650">
            <a:lnSpc>
              <a:spcPct val="90000"/>
            </a:lnSpc>
            <a:spcBef>
              <a:spcPct val="0"/>
            </a:spcBef>
            <a:spcAft>
              <a:spcPct val="15000"/>
            </a:spcAft>
            <a:buChar char="•"/>
          </a:pPr>
          <a:r>
            <a:rPr lang="en-US" sz="1700" kern="1200" baseline="0"/>
            <a:t>Private marketplace – product will be in the allow list</a:t>
          </a:r>
          <a:endParaRPr lang="en-US" sz="1700" kern="1200"/>
        </a:p>
        <a:p>
          <a:pPr marL="171450" lvl="1" indent="-171450" algn="l" defTabSz="755650">
            <a:lnSpc>
              <a:spcPct val="90000"/>
            </a:lnSpc>
            <a:spcBef>
              <a:spcPct val="0"/>
            </a:spcBef>
            <a:spcAft>
              <a:spcPct val="15000"/>
            </a:spcAft>
            <a:buChar char="•"/>
          </a:pPr>
          <a:r>
            <a:rPr lang="en-US" sz="1700" kern="1200" baseline="0"/>
            <a:t>Azure policies – used to block or enforce tagging when resources are created</a:t>
          </a:r>
          <a:endParaRPr lang="en-US" sz="1700" kern="1200"/>
        </a:p>
      </dsp:txBody>
      <dsp:txXfrm>
        <a:off x="0" y="3126123"/>
        <a:ext cx="11018837" cy="1606500"/>
      </dsp:txXfrm>
    </dsp:sp>
    <dsp:sp modelId="{F23A4A5F-3279-4844-9F37-797736070D7C}">
      <dsp:nvSpPr>
        <dsp:cNvPr id="0" name=""/>
        <dsp:cNvSpPr/>
      </dsp:nvSpPr>
      <dsp:spPr>
        <a:xfrm>
          <a:off x="550941" y="287520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Finding permissions</a:t>
          </a:r>
          <a:endParaRPr lang="en-US" sz="1700" kern="1200"/>
        </a:p>
      </dsp:txBody>
      <dsp:txXfrm>
        <a:off x="575439" y="2899701"/>
        <a:ext cx="7664190" cy="45284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6D9BC-D594-49A2-97F6-C14799756212}">
      <dsp:nvSpPr>
        <dsp:cNvPr id="0" name=""/>
        <dsp:cNvSpPr/>
      </dsp:nvSpPr>
      <dsp:spPr>
        <a:xfrm>
          <a:off x="0" y="2006"/>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1C921374-3434-44A4-90B0-7394D130E2D5}">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CBF556-0D7C-496E-88C2-E002786B84B4}">
      <dsp:nvSpPr>
        <dsp:cNvPr id="0" name=""/>
        <dsp:cNvSpPr/>
      </dsp:nvSpPr>
      <dsp:spPr>
        <a:xfrm>
          <a:off x="1174434" y="2006"/>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n Azure portal, go to: Subscriptions &gt; select the subscription &gt; resource providers &gt; filter by the word “marketplace” &gt; make sure all three results are enabled for Azure Marketplace.</a:t>
          </a:r>
        </a:p>
      </dsp:txBody>
      <dsp:txXfrm>
        <a:off x="1174434" y="2006"/>
        <a:ext cx="9844403" cy="1016826"/>
      </dsp:txXfrm>
    </dsp:sp>
    <dsp:sp modelId="{63CA4B60-F8C6-41C8-8716-CA007D869189}">
      <dsp:nvSpPr>
        <dsp:cNvPr id="0" name=""/>
        <dsp:cNvSpPr/>
      </dsp:nvSpPr>
      <dsp:spPr>
        <a:xfrm>
          <a:off x="0" y="1273039"/>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C95DB5FA-1F17-46B1-86BC-9E3E95817252}">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057E3F-FBBF-4E63-8B0E-9CB7DB4A0626}">
      <dsp:nvSpPr>
        <dsp:cNvPr id="0" name=""/>
        <dsp:cNvSpPr/>
      </dsp:nvSpPr>
      <dsp:spPr>
        <a:xfrm>
          <a:off x="1174434" y="1273039"/>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your billing account permissions, go to the Azure portal and select Cost Management &amp; Billing &gt; Billing Scopes &gt; (select the billing account you want) &gt; Access Management (IAM).</a:t>
          </a:r>
        </a:p>
      </dsp:txBody>
      <dsp:txXfrm>
        <a:off x="1174434" y="1273039"/>
        <a:ext cx="9844403" cy="1016826"/>
      </dsp:txXfrm>
    </dsp:sp>
    <dsp:sp modelId="{686572CC-AF7A-44B7-B838-130EA4B7245B}">
      <dsp:nvSpPr>
        <dsp:cNvPr id="0" name=""/>
        <dsp:cNvSpPr/>
      </dsp:nvSpPr>
      <dsp:spPr>
        <a:xfrm>
          <a:off x="0" y="2544072"/>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0CD868EC-EE32-475D-8542-567FC0023D53}">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3DE67C-4ECC-4EFC-9242-181B62B20B64}">
      <dsp:nvSpPr>
        <dsp:cNvPr id="0" name=""/>
        <dsp:cNvSpPr/>
      </dsp:nvSpPr>
      <dsp:spPr>
        <a:xfrm>
          <a:off x="1174434" y="2544072"/>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f you don't see the billing account you're looking for, it means you don't have permission to it (including read-only permissions). To learn more, see Billing accounts and scopes in the Azure portal.</a:t>
          </a:r>
        </a:p>
      </dsp:txBody>
      <dsp:txXfrm>
        <a:off x="1174434" y="2544072"/>
        <a:ext cx="9844403" cy="1016826"/>
      </dsp:txXfrm>
    </dsp:sp>
    <dsp:sp modelId="{9AD606DB-863A-4EB8-8DA7-881F8AF4E8B3}">
      <dsp:nvSpPr>
        <dsp:cNvPr id="0" name=""/>
        <dsp:cNvSpPr/>
      </dsp:nvSpPr>
      <dsp:spPr>
        <a:xfrm>
          <a:off x="0" y="3815105"/>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2E50BE81-51C7-4DD6-A7C2-5B00583819D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B9BD47-0F23-421E-B830-2B25D95CEE3C}">
      <dsp:nvSpPr>
        <dsp:cNvPr id="0" name=""/>
        <dsp:cNvSpPr/>
      </dsp:nvSpPr>
      <dsp:spPr>
        <a:xfrm>
          <a:off x="1174434" y="3815105"/>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dirty="0"/>
            <a:t>To find if you can register third-party applications via SSO, check on </a:t>
          </a:r>
          <a:r>
            <a:rPr lang="en-US" sz="1700" kern="1200" dirty="0" err="1"/>
            <a:t>Entra</a:t>
          </a:r>
          <a:r>
            <a:rPr lang="en-US" sz="1700" kern="1200" dirty="0"/>
            <a:t> ID (Azure AD) menu that users can register applications (Activating your SaaS service requires SSO permissions to third party apps)</a:t>
          </a:r>
        </a:p>
      </dsp:txBody>
      <dsp:txXfrm>
        <a:off x="1174434" y="3815105"/>
        <a:ext cx="9844403" cy="101682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106EA-0AC8-4B5D-983D-94EF5E112A7B}">
      <dsp:nvSpPr>
        <dsp:cNvPr id="0" name=""/>
        <dsp:cNvSpPr/>
      </dsp:nvSpPr>
      <dsp:spPr>
        <a:xfrm>
          <a:off x="596672"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34BC8-4479-430A-913B-4E937F5EC312}">
      <dsp:nvSpPr>
        <dsp:cNvPr id="0" name=""/>
        <dsp:cNvSpPr/>
      </dsp:nvSpPr>
      <dsp:spPr>
        <a:xfrm>
          <a:off x="905575" y="1415401"/>
          <a:ext cx="831662" cy="8316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3480CE-2919-417F-BF34-997133081734}">
      <dsp:nvSpPr>
        <dsp:cNvPr id="0" name=""/>
        <dsp:cNvSpPr/>
      </dsp:nvSpPr>
      <dsp:spPr>
        <a:xfrm>
          <a:off x="133317"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dirty="0"/>
            <a:t>Access to the Marketplace requires Proper Azure Credentials</a:t>
          </a:r>
          <a:endParaRPr lang="en-US" sz="1400" kern="1200" dirty="0"/>
        </a:p>
      </dsp:txBody>
      <dsp:txXfrm>
        <a:off x="133317" y="3007439"/>
        <a:ext cx="2376177" cy="720000"/>
      </dsp:txXfrm>
    </dsp:sp>
    <dsp:sp modelId="{0EB1D68C-8980-4D51-BDDB-EFCB6DF1E2DB}">
      <dsp:nvSpPr>
        <dsp:cNvPr id="0" name=""/>
        <dsp:cNvSpPr/>
      </dsp:nvSpPr>
      <dsp:spPr>
        <a:xfrm>
          <a:off x="3388680"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59C-42B4-4207-A1E6-E13FF0339821}">
      <dsp:nvSpPr>
        <dsp:cNvPr id="0" name=""/>
        <dsp:cNvSpPr/>
      </dsp:nvSpPr>
      <dsp:spPr>
        <a:xfrm>
          <a:off x="3697583" y="1415401"/>
          <a:ext cx="831662" cy="8316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141F5-6920-4C44-AA69-BCB98DA9A01C}">
      <dsp:nvSpPr>
        <dsp:cNvPr id="0" name=""/>
        <dsp:cNvSpPr/>
      </dsp:nvSpPr>
      <dsp:spPr>
        <a:xfrm>
          <a:off x="2925326"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a:t>Provides SSO for users</a:t>
          </a:r>
          <a:endParaRPr lang="en-US" sz="1400" kern="1200"/>
        </a:p>
      </dsp:txBody>
      <dsp:txXfrm>
        <a:off x="2925326" y="3007439"/>
        <a:ext cx="2376177" cy="720000"/>
      </dsp:txXfrm>
    </dsp:sp>
    <dsp:sp modelId="{3393C2F6-81E3-450B-B932-EE5CE1CBB445}">
      <dsp:nvSpPr>
        <dsp:cNvPr id="0" name=""/>
        <dsp:cNvSpPr/>
      </dsp:nvSpPr>
      <dsp:spPr>
        <a:xfrm>
          <a:off x="6180689"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C9BAE-8634-4DEE-AD0A-E80E62775AD7}">
      <dsp:nvSpPr>
        <dsp:cNvPr id="0" name=""/>
        <dsp:cNvSpPr/>
      </dsp:nvSpPr>
      <dsp:spPr>
        <a:xfrm>
          <a:off x="6489592" y="1415401"/>
          <a:ext cx="831662" cy="8316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B0C3D6-EED9-4338-BA86-F34F9481DC71}">
      <dsp:nvSpPr>
        <dsp:cNvPr id="0" name=""/>
        <dsp:cNvSpPr/>
      </dsp:nvSpPr>
      <dsp:spPr>
        <a:xfrm>
          <a:off x="5717334"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dirty="0"/>
            <a:t>Allows users to login through SSO to Procurement systems</a:t>
          </a:r>
          <a:endParaRPr lang="en-US" sz="1400" kern="1200" dirty="0"/>
        </a:p>
      </dsp:txBody>
      <dsp:txXfrm>
        <a:off x="5717334" y="3007439"/>
        <a:ext cx="2376177" cy="720000"/>
      </dsp:txXfrm>
    </dsp:sp>
    <dsp:sp modelId="{305DA574-F90B-41DE-8FB7-F89349DB75DD}">
      <dsp:nvSpPr>
        <dsp:cNvPr id="0" name=""/>
        <dsp:cNvSpPr/>
      </dsp:nvSpPr>
      <dsp:spPr>
        <a:xfrm>
          <a:off x="8972697"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22E50-53E1-4275-B7F2-88D2F91EC132}">
      <dsp:nvSpPr>
        <dsp:cNvPr id="0" name=""/>
        <dsp:cNvSpPr/>
      </dsp:nvSpPr>
      <dsp:spPr>
        <a:xfrm>
          <a:off x="9281600" y="1415401"/>
          <a:ext cx="831662" cy="83166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A1736A-6D2A-4C09-BDDA-D08F75FBD65E}">
      <dsp:nvSpPr>
        <dsp:cNvPr id="0" name=""/>
        <dsp:cNvSpPr/>
      </dsp:nvSpPr>
      <dsp:spPr>
        <a:xfrm>
          <a:off x="8509342"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a:t>User governance for access to Marketplace</a:t>
          </a:r>
          <a:endParaRPr lang="en-US" sz="1400" kern="1200"/>
        </a:p>
      </dsp:txBody>
      <dsp:txXfrm>
        <a:off x="8509342" y="3007439"/>
        <a:ext cx="2376177" cy="7200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96309-307D-419A-9FDE-45C362E45B26}">
      <dsp:nvSpPr>
        <dsp:cNvPr id="0" name=""/>
        <dsp:cNvSpPr/>
      </dsp:nvSpPr>
      <dsp:spPr>
        <a:xfrm>
          <a:off x="1377354" y="1351348"/>
          <a:ext cx="1101883"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C87A3B-BA36-46F8-9130-B0EDBA391AA1}">
      <dsp:nvSpPr>
        <dsp:cNvPr id="0" name=""/>
        <dsp:cNvSpPr/>
      </dsp:nvSpPr>
      <dsp:spPr>
        <a:xfrm>
          <a:off x="2545351" y="1258824"/>
          <a:ext cx="126716" cy="23796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F122252-A20A-4D52-AB98-EB6AE112FCD6}">
      <dsp:nvSpPr>
        <dsp:cNvPr id="0" name=""/>
        <dsp:cNvSpPr/>
      </dsp:nvSpPr>
      <dsp:spPr>
        <a:xfrm>
          <a:off x="661287" y="77305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1</a:t>
          </a:r>
        </a:p>
      </dsp:txBody>
      <dsp:txXfrm>
        <a:off x="830677" y="942442"/>
        <a:ext cx="817884" cy="817884"/>
      </dsp:txXfrm>
    </dsp:sp>
    <dsp:sp modelId="{93BCEE63-2FF6-480C-8FCD-64418A85F710}">
      <dsp:nvSpPr>
        <dsp:cNvPr id="0" name=""/>
        <dsp:cNvSpPr/>
      </dsp:nvSpPr>
      <dsp:spPr>
        <a:xfrm>
          <a:off x="0"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Avoid unrestricted access</a:t>
          </a:r>
          <a:endParaRPr lang="en-US" sz="2000" kern="1200"/>
        </a:p>
      </dsp:txBody>
      <dsp:txXfrm>
        <a:off x="0" y="2488435"/>
        <a:ext cx="2479238" cy="1572480"/>
      </dsp:txXfrm>
    </dsp:sp>
    <dsp:sp modelId="{532342A5-C2D6-45AE-A80B-2035FDD6726A}">
      <dsp:nvSpPr>
        <dsp:cNvPr id="0" name=""/>
        <dsp:cNvSpPr/>
      </dsp:nvSpPr>
      <dsp:spPr>
        <a:xfrm>
          <a:off x="2754709" y="1351319"/>
          <a:ext cx="2479238"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10F074-381D-4F64-A4BD-5CF36F205629}">
      <dsp:nvSpPr>
        <dsp:cNvPr id="0" name=""/>
        <dsp:cNvSpPr/>
      </dsp:nvSpPr>
      <dsp:spPr>
        <a:xfrm>
          <a:off x="5300061" y="1258796"/>
          <a:ext cx="126716" cy="23800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FE8937-0939-42F9-8CC9-217D94E69F02}">
      <dsp:nvSpPr>
        <dsp:cNvPr id="0" name=""/>
        <dsp:cNvSpPr/>
      </dsp:nvSpPr>
      <dsp:spPr>
        <a:xfrm>
          <a:off x="3415996" y="77302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2</a:t>
          </a:r>
        </a:p>
      </dsp:txBody>
      <dsp:txXfrm>
        <a:off x="3585386" y="942412"/>
        <a:ext cx="817884" cy="817884"/>
      </dsp:txXfrm>
    </dsp:sp>
    <dsp:sp modelId="{2F6F9E24-AB1B-43F6-B7EE-6D67E8D36A80}">
      <dsp:nvSpPr>
        <dsp:cNvPr id="0" name=""/>
        <dsp:cNvSpPr/>
      </dsp:nvSpPr>
      <dsp:spPr>
        <a:xfrm>
          <a:off x="2754709" y="2095283"/>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Have a subset of products</a:t>
          </a:r>
          <a:endParaRPr lang="en-US" sz="2000" kern="1200"/>
        </a:p>
      </dsp:txBody>
      <dsp:txXfrm>
        <a:off x="2754709" y="2488403"/>
        <a:ext cx="2479238" cy="1572480"/>
      </dsp:txXfrm>
    </dsp:sp>
    <dsp:sp modelId="{0C18A599-53E6-41A4-8CF6-18D261CE5671}">
      <dsp:nvSpPr>
        <dsp:cNvPr id="0" name=""/>
        <dsp:cNvSpPr/>
      </dsp:nvSpPr>
      <dsp:spPr>
        <a:xfrm>
          <a:off x="5509418" y="1351332"/>
          <a:ext cx="2479238"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BAA590E-552A-4C24-960E-CC35C613CE64}">
      <dsp:nvSpPr>
        <dsp:cNvPr id="0" name=""/>
        <dsp:cNvSpPr/>
      </dsp:nvSpPr>
      <dsp:spPr>
        <a:xfrm>
          <a:off x="8054770" y="1258808"/>
          <a:ext cx="126716" cy="238012"/>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C29AA-23D2-4F52-8987-3C35D1678CD0}">
      <dsp:nvSpPr>
        <dsp:cNvPr id="0" name=""/>
        <dsp:cNvSpPr/>
      </dsp:nvSpPr>
      <dsp:spPr>
        <a:xfrm>
          <a:off x="6170706"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3</a:t>
          </a:r>
        </a:p>
      </dsp:txBody>
      <dsp:txXfrm>
        <a:off x="6340096" y="942426"/>
        <a:ext cx="817884" cy="817884"/>
      </dsp:txXfrm>
    </dsp:sp>
    <dsp:sp modelId="{053BAE7E-A75F-4C6A-9ED3-9FD03710B866}">
      <dsp:nvSpPr>
        <dsp:cNvPr id="0" name=""/>
        <dsp:cNvSpPr/>
      </dsp:nvSpPr>
      <dsp:spPr>
        <a:xfrm>
          <a:off x="550941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Tailor the marketplace for organizational needs</a:t>
          </a:r>
          <a:endParaRPr lang="en-US" sz="2000" kern="1200"/>
        </a:p>
      </dsp:txBody>
      <dsp:txXfrm>
        <a:off x="5509418" y="2488435"/>
        <a:ext cx="2479238" cy="1572480"/>
      </dsp:txXfrm>
    </dsp:sp>
    <dsp:sp modelId="{541B1AC1-E0D8-4DA3-9693-AF574AD410C7}">
      <dsp:nvSpPr>
        <dsp:cNvPr id="0" name=""/>
        <dsp:cNvSpPr/>
      </dsp:nvSpPr>
      <dsp:spPr>
        <a:xfrm>
          <a:off x="8264128" y="1351332"/>
          <a:ext cx="1239619"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59BFEEC-CBFC-42E7-AC37-54ED890E9A63}">
      <dsp:nvSpPr>
        <dsp:cNvPr id="0" name=""/>
        <dsp:cNvSpPr/>
      </dsp:nvSpPr>
      <dsp:spPr>
        <a:xfrm>
          <a:off x="8925415"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4</a:t>
          </a:r>
        </a:p>
      </dsp:txBody>
      <dsp:txXfrm>
        <a:off x="9094805" y="942426"/>
        <a:ext cx="817884" cy="817884"/>
      </dsp:txXfrm>
    </dsp:sp>
    <dsp:sp modelId="{193D835A-B190-4097-BB37-EBD8EFCA5B58}">
      <dsp:nvSpPr>
        <dsp:cNvPr id="0" name=""/>
        <dsp:cNvSpPr/>
      </dsp:nvSpPr>
      <dsp:spPr>
        <a:xfrm>
          <a:off x="826412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dirty="0"/>
            <a:t>Create specific offer collections at the subscription level</a:t>
          </a:r>
          <a:endParaRPr lang="en-US" sz="2000" kern="1200" dirty="0"/>
        </a:p>
      </dsp:txBody>
      <dsp:txXfrm>
        <a:off x="8264128" y="2488435"/>
        <a:ext cx="2479238" cy="157248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BE902-140E-43C4-8CAE-B7EB3D2A7223}">
      <dsp:nvSpPr>
        <dsp:cNvPr id="0" name=""/>
        <dsp:cNvSpPr/>
      </dsp:nvSpPr>
      <dsp:spPr>
        <a:xfrm>
          <a:off x="0" y="0"/>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62DAD4-9FDC-45A9-9AE3-78751362B493}">
      <dsp:nvSpPr>
        <dsp:cNvPr id="0" name=""/>
        <dsp:cNvSpPr/>
      </dsp:nvSpPr>
      <dsp:spPr>
        <a:xfrm>
          <a:off x="0" y="0"/>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Blocks products from purchase in public marketplace</a:t>
          </a:r>
          <a:endParaRPr lang="en-US" sz="3200" kern="1200"/>
        </a:p>
      </dsp:txBody>
      <dsp:txXfrm>
        <a:off x="0" y="0"/>
        <a:ext cx="11018837" cy="1208484"/>
      </dsp:txXfrm>
    </dsp:sp>
    <dsp:sp modelId="{8EF03BD3-77B9-47AC-A999-C8C8C4C9C185}">
      <dsp:nvSpPr>
        <dsp:cNvPr id="0" name=""/>
        <dsp:cNvSpPr/>
      </dsp:nvSpPr>
      <dsp:spPr>
        <a:xfrm>
          <a:off x="0" y="1208484"/>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0B2B12-A86F-44B5-85E0-CE99A74E8F85}">
      <dsp:nvSpPr>
        <dsp:cNvPr id="0" name=""/>
        <dsp:cNvSpPr/>
      </dsp:nvSpPr>
      <dsp:spPr>
        <a:xfrm>
          <a:off x="0" y="1208484"/>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Users submit requests to add a product to the allowlist</a:t>
          </a:r>
          <a:endParaRPr lang="en-US" sz="3200" kern="1200"/>
        </a:p>
      </dsp:txBody>
      <dsp:txXfrm>
        <a:off x="0" y="1208484"/>
        <a:ext cx="11018837" cy="1208484"/>
      </dsp:txXfrm>
    </dsp:sp>
    <dsp:sp modelId="{8398ADA1-D379-4DD1-8756-E9B8F775C25C}">
      <dsp:nvSpPr>
        <dsp:cNvPr id="0" name=""/>
        <dsp:cNvSpPr/>
      </dsp:nvSpPr>
      <dsp:spPr>
        <a:xfrm>
          <a:off x="0" y="2416969"/>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7FAB6-F0C4-43DC-B314-AEBAAEFBC348}">
      <dsp:nvSpPr>
        <dsp:cNvPr id="0" name=""/>
        <dsp:cNvSpPr/>
      </dsp:nvSpPr>
      <dsp:spPr>
        <a:xfrm>
          <a:off x="0" y="2416969"/>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Marketplace administrator has authority to approve request</a:t>
          </a:r>
          <a:endParaRPr lang="en-US" sz="3200" kern="1200"/>
        </a:p>
      </dsp:txBody>
      <dsp:txXfrm>
        <a:off x="0" y="2416969"/>
        <a:ext cx="11018837" cy="1208484"/>
      </dsp:txXfrm>
    </dsp:sp>
    <dsp:sp modelId="{CB3FE173-EA37-4B0F-AE25-C7F4DEE94519}">
      <dsp:nvSpPr>
        <dsp:cNvPr id="0" name=""/>
        <dsp:cNvSpPr/>
      </dsp:nvSpPr>
      <dsp:spPr>
        <a:xfrm>
          <a:off x="0" y="3625453"/>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721C8-F77C-4A91-857C-106EBAF30D3C}">
      <dsp:nvSpPr>
        <dsp:cNvPr id="0" name=""/>
        <dsp:cNvSpPr/>
      </dsp:nvSpPr>
      <dsp:spPr>
        <a:xfrm>
          <a:off x="0" y="3625453"/>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Private offers can be automatically enabled, if configured to</a:t>
          </a:r>
          <a:endParaRPr lang="en-US" sz="3200" kern="1200"/>
        </a:p>
      </dsp:txBody>
      <dsp:txXfrm>
        <a:off x="0" y="3625453"/>
        <a:ext cx="11018837" cy="1208484"/>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D211D-10BB-400E-BC0C-3BDFB2F913A8}">
      <dsp:nvSpPr>
        <dsp:cNvPr id="0" name=""/>
        <dsp:cNvSpPr/>
      </dsp:nvSpPr>
      <dsp:spPr>
        <a:xfrm rot="5400000">
          <a:off x="6549625" y="-2346988"/>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Role-based access control is within subscription</a:t>
          </a:r>
          <a:endParaRPr lang="en-US" sz="2000" kern="1200"/>
        </a:p>
        <a:p>
          <a:pPr marL="228600" lvl="1" indent="-228600" algn="l" defTabSz="889000">
            <a:lnSpc>
              <a:spcPct val="90000"/>
            </a:lnSpc>
            <a:spcBef>
              <a:spcPct val="0"/>
            </a:spcBef>
            <a:spcAft>
              <a:spcPct val="15000"/>
            </a:spcAft>
            <a:buChar char="•"/>
          </a:pPr>
          <a:r>
            <a:rPr lang="en-US" sz="2000" kern="1200" baseline="0"/>
            <a:t>Anyone with subscription owner/contributor permissions can purchase</a:t>
          </a:r>
          <a:endParaRPr lang="en-US" sz="2000" kern="1200"/>
        </a:p>
        <a:p>
          <a:pPr marL="228600" lvl="1" indent="-228600" algn="l" defTabSz="889000">
            <a:lnSpc>
              <a:spcPct val="90000"/>
            </a:lnSpc>
            <a:spcBef>
              <a:spcPct val="0"/>
            </a:spcBef>
            <a:spcAft>
              <a:spcPct val="15000"/>
            </a:spcAft>
            <a:buChar char="•"/>
          </a:pPr>
          <a:r>
            <a:rPr lang="en-US" sz="2000" kern="1200" baseline="0"/>
            <a:t>No "out of the box" integration with enterprise procurement or workflow</a:t>
          </a:r>
          <a:endParaRPr lang="en-US" sz="2000" kern="1200"/>
        </a:p>
      </dsp:txBody>
      <dsp:txXfrm rot="-5400000">
        <a:off x="3966782" y="327940"/>
        <a:ext cx="6959971" cy="1702198"/>
      </dsp:txXfrm>
    </dsp:sp>
    <dsp:sp modelId="{C17A61C0-9B07-499E-93CE-8DBF948A5B72}">
      <dsp:nvSpPr>
        <dsp:cNvPr id="0" name=""/>
        <dsp:cNvSpPr/>
      </dsp:nvSpPr>
      <dsp:spPr>
        <a:xfrm>
          <a:off x="0" y="59"/>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Azure Marketplace Limitations</a:t>
          </a:r>
          <a:endParaRPr lang="en-US" sz="2900" kern="1200"/>
        </a:p>
      </dsp:txBody>
      <dsp:txXfrm>
        <a:off x="115106" y="115165"/>
        <a:ext cx="3736569" cy="2127748"/>
      </dsp:txXfrm>
    </dsp:sp>
    <dsp:sp modelId="{00CF4A83-DEB6-4C79-A309-E1F6386EADA4}">
      <dsp:nvSpPr>
        <dsp:cNvPr id="0" name=""/>
        <dsp:cNvSpPr/>
      </dsp:nvSpPr>
      <dsp:spPr>
        <a:xfrm rot="5400000">
          <a:off x="6549625" y="128870"/>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Must be managed externally to the Azure portal</a:t>
          </a:r>
          <a:endParaRPr lang="en-US" sz="2000" kern="1200"/>
        </a:p>
        <a:p>
          <a:pPr marL="457200" lvl="2" indent="-228600" algn="l" defTabSz="889000">
            <a:lnSpc>
              <a:spcPct val="90000"/>
            </a:lnSpc>
            <a:spcBef>
              <a:spcPct val="0"/>
            </a:spcBef>
            <a:spcAft>
              <a:spcPct val="15000"/>
            </a:spcAft>
            <a:buChar char="•"/>
          </a:pPr>
          <a:r>
            <a:rPr lang="en-US" sz="2000" kern="1200" baseline="0"/>
            <a:t>Examples: Identifying who authorizes purchases</a:t>
          </a:r>
          <a:endParaRPr lang="en-US" sz="2000" kern="1200"/>
        </a:p>
        <a:p>
          <a:pPr marL="457200" lvl="2" indent="-228600" algn="l" defTabSz="889000">
            <a:lnSpc>
              <a:spcPct val="90000"/>
            </a:lnSpc>
            <a:spcBef>
              <a:spcPct val="0"/>
            </a:spcBef>
            <a:spcAft>
              <a:spcPct val="15000"/>
            </a:spcAft>
            <a:buChar char="•"/>
          </a:pPr>
          <a:r>
            <a:rPr lang="en-US" sz="2000" kern="1200" baseline="0"/>
            <a:t>Established approval hierarchies</a:t>
          </a:r>
          <a:endParaRPr lang="en-US" sz="2000" kern="1200"/>
        </a:p>
        <a:p>
          <a:pPr marL="457200" lvl="2" indent="-228600" algn="l" defTabSz="889000">
            <a:lnSpc>
              <a:spcPct val="90000"/>
            </a:lnSpc>
            <a:spcBef>
              <a:spcPct val="0"/>
            </a:spcBef>
            <a:spcAft>
              <a:spcPct val="15000"/>
            </a:spcAft>
            <a:buChar char="•"/>
          </a:pPr>
          <a:r>
            <a:rPr lang="en-US" sz="2000" kern="1200" baseline="0"/>
            <a:t>Determination of who executes purchase</a:t>
          </a:r>
          <a:endParaRPr lang="en-US" sz="2000" kern="1200"/>
        </a:p>
      </dsp:txBody>
      <dsp:txXfrm rot="-5400000">
        <a:off x="3966782" y="2803799"/>
        <a:ext cx="6959971" cy="1702198"/>
      </dsp:txXfrm>
    </dsp:sp>
    <dsp:sp modelId="{6611B5D6-ABA5-419E-B96D-0DE591D8C5FE}">
      <dsp:nvSpPr>
        <dsp:cNvPr id="0" name=""/>
        <dsp:cNvSpPr/>
      </dsp:nvSpPr>
      <dsp:spPr>
        <a:xfrm>
          <a:off x="0" y="2475918"/>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Organization must adhere to procurement policies and procedures</a:t>
          </a:r>
          <a:endParaRPr lang="en-US" sz="2900" kern="1200"/>
        </a:p>
      </dsp:txBody>
      <dsp:txXfrm>
        <a:off x="115106" y="2591024"/>
        <a:ext cx="3736569" cy="21277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dirty="0"/>
            <a:t>Go to th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dirty="0"/>
            <a:t>Go to th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Listing (Contact Me)</a:t>
          </a:r>
          <a:endParaRPr lang="en-US" sz="1800" kern="120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Free Trial</a:t>
          </a:r>
          <a:endParaRPr lang="en-US" sz="1800" kern="120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Bring Your Own License (BYOL) - Get it Now</a:t>
          </a:r>
          <a:endParaRPr lang="en-US" sz="1800" kern="120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Transaction – Get it Now</a:t>
          </a:r>
          <a:endParaRPr lang="en-US" sz="1800" kern="120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Bill to Microsoft account</a:t>
          </a:r>
          <a:endParaRPr lang="en-US" sz="1800" kern="1200"/>
        </a:p>
        <a:p>
          <a:pPr marL="171450" lvl="1" indent="-171450" algn="l" defTabSz="800100">
            <a:lnSpc>
              <a:spcPct val="90000"/>
            </a:lnSpc>
            <a:spcBef>
              <a:spcPct val="0"/>
            </a:spcBef>
            <a:spcAft>
              <a:spcPct val="15000"/>
            </a:spcAft>
            <a:buChar char="•"/>
          </a:pPr>
          <a:r>
            <a:rPr lang="en-US" sz="1800" kern="1200" baseline="0"/>
            <a:t>Process with credit card</a:t>
          </a:r>
          <a:endParaRPr lang="en-US" sz="1800" kern="120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Have an Azure subscription</a:t>
          </a:r>
          <a:endParaRPr lang="en-US" sz="2800" kern="1200"/>
        </a:p>
        <a:p>
          <a:pPr marL="285750" lvl="1" indent="-285750" algn="l" defTabSz="1244600">
            <a:lnSpc>
              <a:spcPct val="90000"/>
            </a:lnSpc>
            <a:spcBef>
              <a:spcPct val="0"/>
            </a:spcBef>
            <a:spcAft>
              <a:spcPct val="15000"/>
            </a:spcAft>
            <a:buChar char="•"/>
          </a:pPr>
          <a:r>
            <a:rPr lang="en-US" sz="2800" kern="1200" baseline="0" dirty="0"/>
            <a:t>Have correct role assignment to purchase</a:t>
          </a:r>
          <a:endParaRPr lang="en-US" sz="2800" kern="1200" dirty="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Solution template (ARM template)</a:t>
          </a:r>
          <a:endParaRPr lang="en-US" sz="2800" kern="1200"/>
        </a:p>
        <a:p>
          <a:pPr marL="285750" lvl="1" indent="-285750" algn="l" defTabSz="1244600">
            <a:lnSpc>
              <a:spcPct val="90000"/>
            </a:lnSpc>
            <a:spcBef>
              <a:spcPct val="0"/>
            </a:spcBef>
            <a:spcAft>
              <a:spcPct val="15000"/>
            </a:spcAft>
            <a:buChar char="•"/>
          </a:pPr>
          <a:r>
            <a:rPr lang="en-US" sz="2800" kern="1200" baseline="0"/>
            <a:t>Managed application</a:t>
          </a:r>
          <a:endParaRPr lang="en-US" sz="28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hlinkClick xmlns:r="http://schemas.openxmlformats.org/officeDocument/2006/relationships" r:id="rId1"/>
            </a:rPr>
            <a:t>https://portal.azure.com</a:t>
          </a:r>
          <a:r>
            <a:rPr lang="en-US" sz="2800" kern="1200" baseline="0"/>
            <a:t> </a:t>
          </a:r>
          <a:endParaRPr lang="en-US" sz="28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dirty="0"/>
            <a:t>Have permission to purchase from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6.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11/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learn.microsoft.com/en-us/marketplace/marketplace-procurement-technical-playbook#find-your-permissions-and-account-settings"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5-lead-management"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find-your-permissions-and-account-settings"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a:latin typeface="Segoe UI"/>
                <a:ea typeface="Calibri" panose="020F0502020204030204" pitchFamily="34" charset="0"/>
                <a:cs typeface="Segoe UI"/>
              </a:rPr>
              <a:t>Review the learning objects with the participants. </a:t>
            </a:r>
          </a:p>
          <a:p>
            <a:pPr defTabSz="924916">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3</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3176774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a:t>To filter the results on Azure Application offers, select the </a:t>
            </a:r>
            <a:r>
              <a:rPr lang="en-US" b="1"/>
              <a:t>Product Type</a:t>
            </a:r>
            <a:r>
              <a:rPr lang="en-US"/>
              <a:t> filter near the top of the page, and then select </a:t>
            </a:r>
            <a:r>
              <a:rPr lang="en-US" b="1"/>
              <a:t>Azure Applications</a:t>
            </a:r>
            <a:r>
              <a:rPr lang="en-US"/>
              <a:t>.</a:t>
            </a:r>
            <a:endParaRPr lang="en-US">
              <a:cs typeface="Calibri"/>
            </a:endParaRPr>
          </a:p>
          <a:p>
            <a:pPr marL="285750" indent="-285750">
              <a:buFont typeface="Arial"/>
              <a:buChar char="•"/>
            </a:pPr>
            <a:r>
              <a:rPr lang="en-US"/>
              <a:t>You can optionally filter the results using the following filters.</a:t>
            </a:r>
            <a:endParaRPr lang="en-US">
              <a:cs typeface="Calibri"/>
            </a:endParaRPr>
          </a:p>
          <a:p>
            <a:r>
              <a:rPr lang="en-US" b="1"/>
              <a:t>Filter group</a:t>
            </a:r>
            <a:endParaRPr lang="en-US"/>
          </a:p>
          <a:p>
            <a:r>
              <a:rPr lang="en-US" b="1"/>
              <a:t>Description</a:t>
            </a:r>
            <a:endParaRPr lang="en-US"/>
          </a:p>
          <a:p>
            <a:r>
              <a:rPr lang="en-US"/>
              <a:t>Pricing</a:t>
            </a:r>
            <a:endParaRPr lang="en-US">
              <a:cs typeface="Calibri"/>
            </a:endParaRPr>
          </a:p>
          <a:p>
            <a:r>
              <a:rPr lang="en-US"/>
              <a:t>You can filter on the following:</a:t>
            </a:r>
            <a:br>
              <a:rPr lang="en-US">
                <a:cs typeface="+mn-lt"/>
              </a:rPr>
            </a:br>
            <a:r>
              <a:rPr lang="en-US"/>
              <a:t>Free – free plan, the software is provided with no additional cost, not including the cost associated with the VM instance type.</a:t>
            </a:r>
            <a:br>
              <a:rPr lang="en-US">
                <a:cs typeface="+mn-lt"/>
              </a:rPr>
            </a:br>
            <a:r>
              <a:rPr lang="en-US"/>
              <a:t>Free trial - Azure virtual machine plans allow for 1, 3, or 6-month free trials. Once the free trial is over the Pay as you Go price will be charged.</a:t>
            </a:r>
            <a:br>
              <a:rPr lang="en-US">
                <a:cs typeface="+mn-lt"/>
              </a:rPr>
            </a:br>
            <a:r>
              <a:rPr lang="en-US"/>
              <a:t>Bring your own license – contact the publisher to get the license for using the software</a:t>
            </a:r>
            <a:br>
              <a:rPr lang="en-US">
                <a:cs typeface="+mn-lt"/>
              </a:rPr>
            </a:br>
            <a:r>
              <a:rPr lang="en-US"/>
              <a:t>Pay as you go - usage-based pricing model, can be charged per core, per core size, or per market (customer sold-to address) and core size</a:t>
            </a:r>
            <a:endParaRPr lang="en-US">
              <a:cs typeface="Calibri"/>
            </a:endParaRPr>
          </a:p>
          <a:p>
            <a:r>
              <a:rPr lang="en-US"/>
              <a:t>Publisher Type</a:t>
            </a:r>
            <a:endParaRPr lang="en-US">
              <a:cs typeface="Calibri"/>
            </a:endParaRPr>
          </a:p>
          <a:p>
            <a:r>
              <a:rPr lang="en-US"/>
              <a:t>Select Microsoft, Partners, or both</a:t>
            </a:r>
            <a:endParaRPr lang="en-US">
              <a:cs typeface="Calibri"/>
            </a:endParaRPr>
          </a:p>
          <a:p>
            <a:r>
              <a:rPr lang="en-US"/>
              <a:t>Publisher name</a:t>
            </a:r>
            <a:endParaRPr lang="en-US">
              <a:cs typeface="Calibri"/>
            </a:endParaRPr>
          </a:p>
          <a:p>
            <a:r>
              <a:rPr lang="en-US"/>
              <a:t>Filter the products based on the publisher's name</a:t>
            </a:r>
            <a:endParaRPr lang="en-US">
              <a:cs typeface="Calibri"/>
            </a:endParaRPr>
          </a:p>
          <a:p>
            <a:pPr marL="285750" indent="-285750">
              <a:buFont typeface="Arial"/>
              <a:buChar char="•"/>
            </a:pPr>
            <a:r>
              <a:rPr lang="en-US"/>
              <a:t>You can optionally select a category on the left-side of the page to further filter the results.</a:t>
            </a:r>
            <a:endParaRPr lang="en-US">
              <a:cs typeface="Calibri"/>
            </a:endParaRPr>
          </a:p>
          <a:p>
            <a:pPr marL="285750" indent="-285750">
              <a:buFont typeface="Arial"/>
              <a:buChar char="•"/>
            </a:pPr>
            <a:r>
              <a:rPr lang="en-US"/>
              <a:t>To see only offers that are eligible for the Azure benefit program, select the </a:t>
            </a:r>
            <a:r>
              <a:rPr lang="en-US" b="1"/>
              <a:t>Azure benefit eligible only</a:t>
            </a:r>
            <a:r>
              <a:rPr lang="en-US"/>
              <a:t> check box. To learn more about this benefit program, see </a:t>
            </a:r>
            <a:r>
              <a:rPr lang="en-US">
                <a:hlinkClick r:id="rId4"/>
              </a:rPr>
              <a:t>Azure consumption commitment benefit</a:t>
            </a:r>
            <a:r>
              <a:rPr lang="en-US"/>
              <a:t>.</a:t>
            </a:r>
            <a:endParaRPr lang="en-US">
              <a:cs typeface="Calibri"/>
            </a:endParaRPr>
          </a:p>
          <a:p>
            <a:pPr marL="285750" indent="-285750">
              <a:buFont typeface="Arial"/>
              <a:buChar char="•"/>
            </a:pPr>
            <a:r>
              <a:rPr lang="en-US"/>
              <a:t>Select the Azure Application offer you want.</a:t>
            </a:r>
            <a:endParaRPr lang="en-US">
              <a:cs typeface="Calibri"/>
            </a:endParaRPr>
          </a:p>
          <a:p>
            <a:pPr marL="285750" indent="-285750">
              <a:buFont typeface="Arial"/>
              <a:buChar char="•"/>
            </a:pPr>
            <a:r>
              <a:rPr lang="en-US"/>
              <a:t>If the offer has more than one plan, you can see them on the </a:t>
            </a:r>
            <a:r>
              <a:rPr lang="en-US" b="1"/>
              <a:t>Plans + Pricing</a:t>
            </a:r>
            <a:r>
              <a:rPr lang="en-US"/>
              <a:t> tab.</a:t>
            </a:r>
            <a:endParaRPr lang="en-US">
              <a:cs typeface="Calibri"/>
            </a:endParaRPr>
          </a:p>
          <a:p>
            <a:pPr marL="285750" indent="-285750">
              <a:buFont typeface="Arial"/>
              <a:buChar char="•"/>
            </a:pPr>
            <a:r>
              <a:rPr lang="en-US"/>
              <a:t>Select </a:t>
            </a:r>
            <a:r>
              <a:rPr lang="en-US" b="1"/>
              <a:t>Create</a:t>
            </a:r>
            <a:r>
              <a:rPr lang="en-US"/>
              <a:t>. The </a:t>
            </a:r>
            <a:r>
              <a:rPr lang="en-US" b="1"/>
              <a:t>Create </a:t>
            </a:r>
            <a:r>
              <a:rPr lang="en-US" b="1" i="1"/>
              <a:t>Offer Name</a:t>
            </a:r>
            <a:r>
              <a:rPr lang="en-US"/>
              <a:t> page appears.</a:t>
            </a:r>
            <a:endParaRPr lang="en-US">
              <a:cs typeface="Calibri"/>
            </a:endParaRPr>
          </a:p>
          <a:p>
            <a:pPr marL="285750" indent="-285750">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endParaRPr lang="en-US">
              <a:cs typeface="Calibri"/>
            </a:endParaRPr>
          </a:p>
          <a:p>
            <a:pPr marL="285750" lvl="1" indent="-285750">
              <a:buFont typeface="Arial"/>
              <a:buChar char="•"/>
            </a:pPr>
            <a:r>
              <a:rPr lang="en-US"/>
              <a:t>From the </a:t>
            </a:r>
            <a:r>
              <a:rPr lang="en-US" b="1"/>
              <a:t>Resource group</a:t>
            </a:r>
            <a:r>
              <a:rPr lang="en-US"/>
              <a:t> list, select an existing resource group.</a:t>
            </a:r>
            <a:endParaRPr lang="en-US">
              <a:cs typeface="Calibri"/>
            </a:endParaRPr>
          </a:p>
          <a:p>
            <a:pPr marL="285750" lvl="1" indent="-285750">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endParaRPr lang="en-US">
              <a:cs typeface="Calibri"/>
            </a:endParaRPr>
          </a:p>
          <a:p>
            <a:pPr marL="285750" indent="-285750">
              <a:buFont typeface="Arial"/>
              <a:buChar char="•"/>
            </a:pPr>
            <a:r>
              <a:rPr lang="en-US"/>
              <a:t>Complete any remaining fields on the page, and then select </a:t>
            </a:r>
            <a:r>
              <a:rPr lang="en-US" b="1"/>
              <a:t>Review + create</a:t>
            </a:r>
            <a:r>
              <a:rPr lang="en-US"/>
              <a:t>. Other input fields in the Marketplace experience vary between publishers and offers. Each offer might collect different input based on </a:t>
            </a:r>
            <a:r>
              <a:rPr lang="en-US" err="1"/>
              <a:t>it's</a:t>
            </a:r>
            <a:r>
              <a:rPr lang="en-US"/>
              <a:t> need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a:t>Sign in to the Azure portal at </a:t>
            </a:r>
            <a:r>
              <a:rPr lang="en-US">
                <a:hlinkClick r:id="rId3"/>
              </a:rPr>
              <a:t>https://portal.azure.com</a:t>
            </a:r>
            <a:r>
              <a:rPr lang="en-US"/>
              <a:t>.</a:t>
            </a:r>
            <a:endParaRPr lang="en-US">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a:t>To filter the results on virtual machine offers, select the </a:t>
            </a:r>
            <a:r>
              <a:rPr lang="en-US" b="1"/>
              <a:t>Product Type</a:t>
            </a:r>
            <a:r>
              <a:rPr lang="en-US"/>
              <a:t> filter near the top of the page, and then select </a:t>
            </a:r>
            <a:r>
              <a:rPr lang="en-US" b="1"/>
              <a:t>Virtual Machine</a:t>
            </a:r>
            <a:r>
              <a:rPr lang="en-US"/>
              <a:t>.</a:t>
            </a:r>
            <a:endParaRPr lang="en-US">
              <a:cs typeface="Calibri"/>
            </a:endParaRPr>
          </a:p>
          <a:p>
            <a:pPr>
              <a:buFont typeface="Arial"/>
              <a:buChar char="•"/>
            </a:pPr>
            <a:r>
              <a:rPr lang="en-US"/>
              <a:t>You can optionally filter the results using the following filters.</a:t>
            </a:r>
          </a:p>
          <a:p>
            <a:pPr>
              <a:buFont typeface="Arial"/>
              <a:buChar char="•"/>
            </a:pPr>
            <a:r>
              <a:rPr lang="en-US" b="1"/>
              <a:t>Filter group</a:t>
            </a:r>
            <a:endParaRPr lang="en-US"/>
          </a:p>
          <a:p>
            <a:pPr>
              <a:buFont typeface="Arial"/>
              <a:buChar char="•"/>
            </a:pPr>
            <a:r>
              <a:rPr lang="en-US" b="1"/>
              <a:t>Description</a:t>
            </a:r>
            <a:endParaRPr lang="en-US"/>
          </a:p>
          <a:p>
            <a:pPr>
              <a:buFont typeface="Arial"/>
              <a:buChar char="•"/>
            </a:pPr>
            <a:r>
              <a:rPr lang="en-US"/>
              <a:t>Pricing</a:t>
            </a:r>
            <a:endParaRPr lang="en-US">
              <a:cs typeface="Calibri"/>
            </a:endParaRPr>
          </a:p>
          <a:p>
            <a:pPr>
              <a:buFont typeface="Arial"/>
              <a:buChar char="•"/>
            </a:pPr>
            <a:r>
              <a:rPr lang="en-US"/>
              <a:t>You can filter on the following:</a:t>
            </a:r>
            <a:br>
              <a:rPr lang="en-US">
                <a:cs typeface="+mn-lt"/>
              </a:rPr>
            </a:br>
            <a:r>
              <a:rPr lang="en-US"/>
              <a:t>Free – free plan, the software is provided with no additional cost, not including the cost associated with the VM instance type</a:t>
            </a:r>
            <a:br>
              <a:rPr lang="en-US">
                <a:cs typeface="+mn-lt"/>
              </a:rPr>
            </a:br>
            <a:r>
              <a:rPr lang="en-US"/>
              <a:t>Free trial - Azure virtual machine plans allow for 1, 3, or 6-month free trials, once the free trial is over the Pay as you Go price will be charged</a:t>
            </a:r>
            <a:br>
              <a:rPr lang="en-US">
                <a:cs typeface="+mn-lt"/>
              </a:rPr>
            </a:br>
            <a:r>
              <a:rPr lang="en-US"/>
              <a:t>Bring your own license – contact the publisher to get the license for using the software</a:t>
            </a:r>
            <a:br>
              <a:rPr lang="en-US">
                <a:cs typeface="+mn-lt"/>
              </a:rPr>
            </a:br>
            <a:r>
              <a:rPr lang="en-US"/>
              <a:t>Pay as you go - usage-based pricing model, can be charged per vCPU, per vCPU size, or per market (customer sold-to address) and vCPU size</a:t>
            </a:r>
            <a:endParaRPr lang="en-US">
              <a:cs typeface="Calibri"/>
            </a:endParaRPr>
          </a:p>
          <a:p>
            <a:pPr>
              <a:buFont typeface="Arial"/>
              <a:buChar char="•"/>
            </a:pPr>
            <a:r>
              <a:rPr lang="en-US"/>
              <a:t>Operating System</a:t>
            </a:r>
            <a:endParaRPr lang="en-US">
              <a:cs typeface="Calibri"/>
            </a:endParaRPr>
          </a:p>
          <a:p>
            <a:pPr>
              <a:buFont typeface="Arial"/>
              <a:buChar char="•"/>
            </a:pPr>
            <a:r>
              <a:rPr lang="en-US"/>
              <a:t>Filter by the OS the VM image is using</a:t>
            </a:r>
          </a:p>
          <a:p>
            <a:pPr>
              <a:buFont typeface="Arial"/>
              <a:buChar char="•"/>
            </a:pPr>
            <a:r>
              <a:rPr lang="en-US"/>
              <a:t>Publisher Type</a:t>
            </a:r>
            <a:endParaRPr lang="en-US">
              <a:cs typeface="Calibri"/>
            </a:endParaRPr>
          </a:p>
          <a:p>
            <a:pPr>
              <a:buFont typeface="Arial"/>
              <a:buChar char="•"/>
            </a:pPr>
            <a:r>
              <a:rPr lang="en-US"/>
              <a:t>Select Microsoft, Partners, or both</a:t>
            </a:r>
          </a:p>
          <a:p>
            <a:pPr>
              <a:buFont typeface="Arial"/>
              <a:buChar char="•"/>
            </a:pPr>
            <a:r>
              <a:rPr lang="en-US"/>
              <a:t>Publisher name</a:t>
            </a:r>
            <a:endParaRPr lang="en-US">
              <a:cs typeface="Calibri"/>
            </a:endParaRPr>
          </a:p>
          <a:p>
            <a:pPr>
              <a:buFont typeface="Arial"/>
              <a:buChar char="•"/>
            </a:pPr>
            <a:r>
              <a:rPr lang="en-US"/>
              <a:t>Filter the products based on the publisher's name</a:t>
            </a:r>
          </a:p>
          <a:p>
            <a:pPr>
              <a:buFont typeface="Arial"/>
              <a:buChar char="•"/>
            </a:pPr>
            <a:r>
              <a:rPr lang="en-US"/>
              <a:t>You can optionally select a category on the left-side of the page to further filter the results.</a:t>
            </a:r>
          </a:p>
          <a:p>
            <a:pPr>
              <a:buFont typeface="Arial"/>
              <a:buChar char="•"/>
            </a:pPr>
            <a:r>
              <a:rPr lang="en-US"/>
              <a:t>To see only offers that are eligible for the Azure benefit program, select the </a:t>
            </a:r>
            <a:r>
              <a:rPr lang="en-US" b="1"/>
              <a:t>Azure benefit eligible only</a:t>
            </a:r>
            <a:r>
              <a:rPr lang="en-US"/>
              <a:t> check box. To learn more about this benefit program, see </a:t>
            </a:r>
            <a:r>
              <a:rPr lang="en-US">
                <a:hlinkClick r:id="rId4"/>
              </a:rPr>
              <a:t>Azure consumption commitment benefit</a:t>
            </a:r>
            <a:r>
              <a:rPr lang="en-US"/>
              <a:t>.</a:t>
            </a:r>
            <a:endParaRPr lang="en-US">
              <a:cs typeface="Calibri"/>
            </a:endParaRPr>
          </a:p>
          <a:p>
            <a:pPr>
              <a:buFont typeface="Arial"/>
              <a:buChar char="•"/>
            </a:pPr>
            <a:r>
              <a:rPr lang="en-US"/>
              <a:t>Select the VM offer you want.</a:t>
            </a:r>
          </a:p>
          <a:p>
            <a:pPr>
              <a:buFont typeface="Arial"/>
              <a:buChar char="•"/>
            </a:pPr>
            <a:r>
              <a:rPr lang="en-US"/>
              <a:t>If the offer has more than one plan, you can see them on the </a:t>
            </a:r>
            <a:r>
              <a:rPr lang="en-US" b="1"/>
              <a:t>Plans + Pricing</a:t>
            </a:r>
            <a:r>
              <a:rPr lang="en-US"/>
              <a:t> tab.</a:t>
            </a:r>
            <a:endParaRPr lang="en-US">
              <a:cs typeface="Calibri"/>
            </a:endParaRPr>
          </a:p>
          <a:p>
            <a:pPr>
              <a:buFont typeface="Arial"/>
              <a:buChar char="•"/>
            </a:pPr>
            <a:r>
              <a:rPr lang="en-US"/>
              <a:t>Select </a:t>
            </a:r>
            <a:r>
              <a:rPr lang="en-US" b="1"/>
              <a:t>Create</a:t>
            </a:r>
            <a:r>
              <a:rPr lang="en-US"/>
              <a:t>. The </a:t>
            </a:r>
            <a:r>
              <a:rPr lang="en-US" b="1"/>
              <a:t>Create a virtual machine</a:t>
            </a:r>
            <a:r>
              <a:rPr lang="en-US"/>
              <a:t> page appears.</a:t>
            </a:r>
            <a:endParaRPr lang="en-US">
              <a:cs typeface="Calibri"/>
            </a:endParaRPr>
          </a:p>
          <a:p>
            <a:pPr>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endParaRPr lang="en-US">
              <a:cs typeface="Calibri"/>
            </a:endParaRPr>
          </a:p>
          <a:p>
            <a:pPr lvl="1">
              <a:buFont typeface="Arial"/>
              <a:buChar char="•"/>
            </a:pPr>
            <a:r>
              <a:rPr lang="en-US"/>
              <a:t>From the </a:t>
            </a:r>
            <a:r>
              <a:rPr lang="en-US" b="1"/>
              <a:t>Resource group</a:t>
            </a:r>
            <a:r>
              <a:rPr lang="en-US"/>
              <a:t> list, select an existing resource group.</a:t>
            </a:r>
            <a:endParaRPr lang="en-US">
              <a:cs typeface="Calibri"/>
            </a:endParaRPr>
          </a:p>
          <a:p>
            <a:pPr lvl="1">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endParaRPr lang="en-US">
              <a:cs typeface="Calibri"/>
            </a:endParaRPr>
          </a:p>
          <a:p>
            <a:pPr>
              <a:buFont typeface="Arial"/>
              <a:buChar char="•"/>
            </a:pPr>
            <a:r>
              <a:rPr lang="en-US"/>
              <a:t>Under </a:t>
            </a:r>
            <a:r>
              <a:rPr lang="en-US" b="1"/>
              <a:t>Instance details</a:t>
            </a:r>
            <a:r>
              <a:rPr lang="en-US"/>
              <a:t>, do the following:</a:t>
            </a:r>
            <a:endParaRPr lang="en-US">
              <a:cs typeface="Calibri"/>
            </a:endParaRPr>
          </a:p>
          <a:p>
            <a:pPr lvl="1">
              <a:buFont typeface="Arial"/>
              <a:buChar char="•"/>
            </a:pPr>
            <a:r>
              <a:rPr lang="en-US"/>
              <a:t>In the </a:t>
            </a:r>
            <a:r>
              <a:rPr lang="en-US" b="1"/>
              <a:t>Virtual machine</a:t>
            </a:r>
            <a:r>
              <a:rPr lang="en-US"/>
              <a:t> name box, enter the name you want for this VM.</a:t>
            </a:r>
            <a:endParaRPr lang="en-US">
              <a:cs typeface="Calibri"/>
            </a:endParaRPr>
          </a:p>
          <a:p>
            <a:pPr lvl="1">
              <a:buFont typeface="Arial"/>
              <a:buChar char="•"/>
            </a:pPr>
            <a:r>
              <a:rPr lang="en-US"/>
              <a:t>From the </a:t>
            </a:r>
            <a:r>
              <a:rPr lang="en-US" b="1"/>
              <a:t>Region</a:t>
            </a:r>
            <a:r>
              <a:rPr lang="en-US"/>
              <a:t> list, choose the region you want.</a:t>
            </a:r>
            <a:endParaRPr lang="en-US">
              <a:cs typeface="Calibri"/>
            </a:endParaRPr>
          </a:p>
          <a:p>
            <a:pPr lvl="1">
              <a:buFont typeface="Arial"/>
              <a:buChar char="•"/>
            </a:pPr>
            <a:r>
              <a:rPr lang="en-US"/>
              <a:t>From the </a:t>
            </a:r>
            <a:r>
              <a:rPr lang="en-US" b="1"/>
              <a:t>Size</a:t>
            </a:r>
            <a:r>
              <a:rPr lang="en-US"/>
              <a:t> list, select the VM size you want.</a:t>
            </a:r>
            <a:endParaRPr lang="en-US">
              <a:cs typeface="Calibri"/>
            </a:endParaRPr>
          </a:p>
          <a:p>
            <a:pPr>
              <a:buFont typeface="Arial"/>
              <a:buChar char="•"/>
            </a:pPr>
            <a:r>
              <a:rPr lang="en-US"/>
              <a:t>Complete the remaining fields on the page. Then select </a:t>
            </a:r>
            <a:r>
              <a:rPr lang="en-US" b="1"/>
              <a:t>Review + create</a:t>
            </a:r>
            <a:r>
              <a:rPr lang="en-US"/>
              <a:t>.</a:t>
            </a:r>
            <a:endParaRPr lang="en-US">
              <a:cs typeface="Calibri"/>
            </a:endParaRPr>
          </a:p>
          <a:p>
            <a:pPr>
              <a:buFont typeface="Arial"/>
              <a:buChar char="•"/>
            </a:pPr>
            <a:r>
              <a:rPr lang="en-US" b="1"/>
              <a:t>Purchase a VM using search</a:t>
            </a:r>
            <a:endParaRPr lang="en-US"/>
          </a:p>
          <a:p>
            <a:pPr>
              <a:buFont typeface="Arial"/>
              <a:buChar char="•"/>
            </a:pPr>
            <a:r>
              <a:rPr lang="en-US"/>
              <a:t>Sign in to the Azure portal at </a:t>
            </a:r>
            <a:r>
              <a:rPr lang="en-US">
                <a:hlinkClick r:id="rId3"/>
              </a:rPr>
              <a:t>https://portal.azure.com</a:t>
            </a:r>
            <a:r>
              <a:rPr lang="en-US"/>
              <a:t>.</a:t>
            </a:r>
            <a:endParaRPr lang="en-US">
              <a:cs typeface="Calibri"/>
            </a:endParaRPr>
          </a:p>
          <a:p>
            <a:pPr>
              <a:buFont typeface="Arial"/>
              <a:buChar char="•"/>
            </a:pPr>
            <a:r>
              <a:rPr lang="en-US"/>
              <a:t>In the search box, enter </a:t>
            </a:r>
            <a:r>
              <a:rPr lang="en-US" b="1"/>
              <a:t>virtual machines</a:t>
            </a:r>
            <a:r>
              <a:rPr lang="en-US"/>
              <a:t>.</a:t>
            </a:r>
            <a:endParaRPr lang="en-US">
              <a:cs typeface="Calibri"/>
            </a:endParaRPr>
          </a:p>
          <a:p>
            <a:pPr>
              <a:buFont typeface="Arial"/>
              <a:buChar char="•"/>
            </a:pPr>
            <a:r>
              <a:rPr lang="en-US"/>
              <a:t>Under </a:t>
            </a:r>
            <a:r>
              <a:rPr lang="en-US" b="1"/>
              <a:t>Services</a:t>
            </a:r>
            <a:r>
              <a:rPr lang="en-US"/>
              <a:t>, select </a:t>
            </a:r>
            <a:r>
              <a:rPr lang="en-US" b="1"/>
              <a:t>Virtual machines</a:t>
            </a:r>
            <a:r>
              <a:rPr lang="en-US"/>
              <a:t>.</a:t>
            </a:r>
            <a:endParaRPr lang="en-US">
              <a:cs typeface="Calibri"/>
            </a:endParaRPr>
          </a:p>
          <a:p>
            <a:pPr>
              <a:buFont typeface="Arial"/>
              <a:buChar char="•"/>
            </a:pPr>
            <a:r>
              <a:rPr lang="en-US"/>
              <a:t>On the </a:t>
            </a:r>
            <a:r>
              <a:rPr lang="en-US" b="1"/>
              <a:t>Virtual machines</a:t>
            </a:r>
            <a:r>
              <a:rPr lang="en-US"/>
              <a:t> page, select </a:t>
            </a:r>
            <a:r>
              <a:rPr lang="en-US" b="1"/>
              <a:t>+ Create</a:t>
            </a:r>
            <a:r>
              <a:rPr lang="en-US"/>
              <a:t> &gt; </a:t>
            </a:r>
            <a:r>
              <a:rPr lang="en-US" b="1"/>
              <a:t>+ Virtual machine</a:t>
            </a:r>
            <a:r>
              <a:rPr lang="en-US"/>
              <a:t>. The </a:t>
            </a:r>
            <a:r>
              <a:rPr lang="en-US" b="1"/>
              <a:t>Create a virtual machine</a:t>
            </a:r>
            <a:r>
              <a:rPr lang="en-US"/>
              <a:t> page appears.</a:t>
            </a:r>
          </a:p>
          <a:p>
            <a:pPr>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p>
          <a:p>
            <a:pPr lvl="1">
              <a:buFont typeface="Arial"/>
              <a:buChar char="•"/>
            </a:pPr>
            <a:r>
              <a:rPr lang="en-US"/>
              <a:t>From the </a:t>
            </a:r>
            <a:r>
              <a:rPr lang="en-US" b="1"/>
              <a:t>Resource group</a:t>
            </a:r>
            <a:r>
              <a:rPr lang="en-US"/>
              <a:t> list, select an existing resource group.</a:t>
            </a:r>
          </a:p>
          <a:p>
            <a:pPr lvl="1">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p>
          <a:p>
            <a:pPr>
              <a:buFont typeface="Arial"/>
              <a:buChar char="•"/>
            </a:pPr>
            <a:r>
              <a:rPr lang="en-US"/>
              <a:t>Under </a:t>
            </a:r>
            <a:r>
              <a:rPr lang="en-US" b="1"/>
              <a:t>Instance details</a:t>
            </a:r>
            <a:r>
              <a:rPr lang="en-US"/>
              <a:t>, do the following:</a:t>
            </a:r>
          </a:p>
          <a:p>
            <a:pPr lvl="1">
              <a:buFont typeface="Arial"/>
              <a:buChar char="•"/>
            </a:pPr>
            <a:r>
              <a:rPr lang="en-US"/>
              <a:t>In the </a:t>
            </a:r>
            <a:r>
              <a:rPr lang="en-US" b="1"/>
              <a:t>Virtual machine</a:t>
            </a:r>
            <a:r>
              <a:rPr lang="en-US"/>
              <a:t> name box, enter the name you want for this VM.</a:t>
            </a:r>
          </a:p>
          <a:p>
            <a:pPr lvl="1">
              <a:buFont typeface="Arial"/>
              <a:buChar char="•"/>
            </a:pPr>
            <a:r>
              <a:rPr lang="en-US"/>
              <a:t>From the </a:t>
            </a:r>
            <a:r>
              <a:rPr lang="en-US" b="1"/>
              <a:t>Region</a:t>
            </a:r>
            <a:r>
              <a:rPr lang="en-US"/>
              <a:t> list, choose the region you want.</a:t>
            </a:r>
          </a:p>
          <a:p>
            <a:pPr>
              <a:buFont typeface="Arial"/>
              <a:buChar char="•"/>
            </a:pPr>
            <a:r>
              <a:rPr lang="en-US"/>
              <a:t>The </a:t>
            </a:r>
            <a:r>
              <a:rPr lang="en-US" b="1"/>
              <a:t>Image</a:t>
            </a:r>
            <a:r>
              <a:rPr lang="en-US"/>
              <a:t> list holds recently used images and Marketplace images to help you get started. Do one of the following:</a:t>
            </a:r>
          </a:p>
          <a:p>
            <a:pPr lvl="1">
              <a:buFont typeface="Arial"/>
              <a:buChar char="•"/>
            </a:pPr>
            <a:r>
              <a:rPr lang="en-US"/>
              <a:t>Select a VM image from the </a:t>
            </a:r>
            <a:r>
              <a:rPr lang="en-US" b="1"/>
              <a:t>Image</a:t>
            </a:r>
            <a:r>
              <a:rPr lang="en-US"/>
              <a:t> list. Complete the fields and then go to step 12.</a:t>
            </a:r>
          </a:p>
          <a:p>
            <a:pPr lvl="1">
              <a:buFont typeface="Arial"/>
              <a:buChar char="•"/>
            </a:pPr>
            <a:r>
              <a:rPr lang="en-US"/>
              <a:t>Below the </a:t>
            </a:r>
            <a:r>
              <a:rPr lang="en-US" b="1"/>
              <a:t>Image</a:t>
            </a:r>
            <a:r>
              <a:rPr lang="en-US"/>
              <a:t> list, select </a:t>
            </a:r>
            <a:r>
              <a:rPr lang="en-US" b="1"/>
              <a:t>See all images</a:t>
            </a:r>
            <a:r>
              <a:rPr lang="en-US"/>
              <a:t> to open the Marketplace experience.</a:t>
            </a:r>
          </a:p>
          <a:p>
            <a:pPr>
              <a:buFont typeface="Arial"/>
              <a:buChar char="•"/>
            </a:pPr>
            <a:r>
              <a:rPr lang="en-US"/>
              <a:t>You can use the left-nav to help you find the VM you're looking for. The left-nav has the following sections:</a:t>
            </a:r>
          </a:p>
          <a:p>
            <a:pPr lvl="1">
              <a:buFont typeface="Arial"/>
              <a:buChar char="•"/>
            </a:pPr>
            <a:r>
              <a:rPr lang="en-US" b="1"/>
              <a:t>My Items</a:t>
            </a:r>
            <a:r>
              <a:rPr lang="en-US"/>
              <a:t> – VM images created by you or shared with you. To learn more, see </a:t>
            </a:r>
            <a:r>
              <a:rPr lang="en-US">
                <a:hlinkClick r:id="rId5"/>
              </a:rPr>
              <a:t>Store and share images in an Azure Compute Gallery</a:t>
            </a:r>
            <a:r>
              <a:rPr lang="en-US"/>
              <a:t>.</a:t>
            </a:r>
          </a:p>
          <a:p>
            <a:pPr lvl="1">
              <a:buFont typeface="Arial"/>
              <a:buChar char="•"/>
            </a:pPr>
            <a:r>
              <a:rPr lang="en-US" b="1"/>
              <a:t>Marketplace</a:t>
            </a:r>
            <a:r>
              <a:rPr lang="en-US"/>
              <a:t> – Recently created products and </a:t>
            </a:r>
            <a:r>
              <a:rPr lang="en-US">
                <a:hlinkClick r:id="rId6"/>
              </a:rPr>
              <a:t>Marketplace Private products</a:t>
            </a:r>
            <a:r>
              <a:rPr lang="en-US"/>
              <a:t>.</a:t>
            </a:r>
          </a:p>
          <a:p>
            <a:pPr lvl="1">
              <a:buFont typeface="Arial"/>
              <a:buChar char="•"/>
            </a:pPr>
            <a:r>
              <a:rPr lang="en-US" b="1"/>
              <a:t>Categories</a:t>
            </a:r>
            <a:r>
              <a:rPr lang="en-US"/>
              <a:t> – You can filter Marketplace products by category.</a:t>
            </a:r>
          </a:p>
          <a:p>
            <a:pPr lvl="1">
              <a:buFont typeface="Arial"/>
              <a:buChar char="•"/>
            </a:pPr>
            <a:r>
              <a:rPr lang="en-US" b="1"/>
              <a:t>My Images</a:t>
            </a:r>
            <a:r>
              <a:rPr lang="en-US"/>
              <a:t> - To access VM images created by you.</a:t>
            </a:r>
          </a:p>
          <a:p>
            <a:pPr lvl="1">
              <a:buFont typeface="Arial"/>
              <a:buChar char="•"/>
            </a:pPr>
            <a:r>
              <a:rPr lang="en-US" b="1"/>
              <a:t>Shared Images</a:t>
            </a:r>
            <a:r>
              <a:rPr lang="en-US"/>
              <a:t> - To access VM images shared with you. To learn more, see </a:t>
            </a:r>
            <a:r>
              <a:rPr lang="en-US">
                <a:hlinkClick r:id="rId5"/>
              </a:rPr>
              <a:t>Store and share images in an Azure Compute Gallery</a:t>
            </a:r>
            <a:r>
              <a:rPr lang="en-US"/>
              <a:t>.</a:t>
            </a:r>
          </a:p>
          <a:p>
            <a:pPr lvl="1">
              <a:buFont typeface="Arial"/>
              <a:buChar char="•"/>
            </a:pPr>
            <a:r>
              <a:rPr lang="en-US" b="1"/>
              <a:t>Community Images (PREVIEW)</a:t>
            </a:r>
            <a:r>
              <a:rPr lang="en-US"/>
              <a:t> - To access VM images shared by an Azure subscription owner within their Azure subscription.</a:t>
            </a:r>
          </a:p>
          <a:p>
            <a:pPr marL="285750" indent="-2857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8</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a:t>On the product page, select a plan that meets your needs, and then select </a:t>
            </a:r>
            <a:r>
              <a:rPr lang="en-US" b="1"/>
              <a:t>Set up + subscribe</a:t>
            </a:r>
            <a:r>
              <a:rPr lang="en-US"/>
              <a:t>.</a:t>
            </a:r>
          </a:p>
          <a:p>
            <a:pPr marL="285750" indent="-285750">
              <a:buFont typeface="Arial"/>
              <a:buChar char="•"/>
            </a:pPr>
            <a:r>
              <a:rPr lang="en-US"/>
              <a:t>You're redirected to the </a:t>
            </a:r>
            <a:r>
              <a:rPr lang="en-US" b="1"/>
              <a:t>Basics</a:t>
            </a:r>
            <a:r>
              <a:rPr lang="en-US"/>
              <a:t> tab, where you:</a:t>
            </a:r>
            <a:endParaRPr lang="en-US">
              <a:cs typeface="Calibri"/>
            </a:endParaRPr>
          </a:p>
          <a:p>
            <a:pPr marL="285750" lvl="1" indent="-285750">
              <a:buFont typeface="Arial"/>
              <a:buChar char="•"/>
            </a:pPr>
            <a:r>
              <a:rPr lang="en-US"/>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a:t> Note</a:t>
            </a:r>
            <a:endParaRPr lang="en-US"/>
          </a:p>
          <a:p>
            <a:pPr lvl="1"/>
            <a:r>
              <a:rPr lang="en-US"/>
              <a:t>The following Azure subscriptions can't be used to purchase SaaS: Student, Visual Studio Enterprise, or Free credit.</a:t>
            </a:r>
          </a:p>
          <a:p>
            <a:pPr marL="342900" lvl="1" indent="-342900">
              <a:buChar char="•"/>
            </a:pPr>
            <a:r>
              <a:rPr lang="en-US"/>
              <a:t>Choose or create a resource group to hold the SaaS application.</a:t>
            </a:r>
          </a:p>
          <a:p>
            <a:pPr marL="342900" lvl="1" indent="-342900">
              <a:buChar char="•"/>
            </a:pPr>
            <a:r>
              <a:rPr lang="en-US"/>
              <a:t>Type a name for the SaaS subscription, to easily identify it later. You can't change this name after you have purchased the SaaS subscription.</a:t>
            </a:r>
          </a:p>
          <a:p>
            <a:pPr marL="342900" lvl="1" indent="-342900">
              <a:buChar char="•"/>
            </a:pPr>
            <a:r>
              <a:rPr lang="en-US"/>
              <a:t>Under </a:t>
            </a:r>
            <a:r>
              <a:rPr lang="en-US" b="1"/>
              <a:t>Plan</a:t>
            </a:r>
            <a:r>
              <a:rPr lang="en-US"/>
              <a:t>, you'll see the plan you selected in the product details page (PDP). If you haven't made an active selection in the PDP, you'll see the default plan. You can change your selection by selecting the </a:t>
            </a:r>
            <a:r>
              <a:rPr lang="en-US" b="1"/>
              <a:t>Change plan</a:t>
            </a:r>
            <a:r>
              <a:rPr lang="en-US"/>
              <a:t> link. Then select the plan and billing term you want.</a:t>
            </a:r>
            <a:endParaRPr lang="en-US">
              <a:cs typeface="Calibri"/>
            </a:endParaRPr>
          </a:p>
          <a:p>
            <a:pPr lvl="1"/>
            <a:r>
              <a:rPr lang="en-US" b="1"/>
              <a:t> Note</a:t>
            </a:r>
            <a:endParaRPr lang="en-US"/>
          </a:p>
          <a:p>
            <a:pPr lvl="1"/>
            <a:r>
              <a:rPr lang="en-US"/>
              <a:t>You can only change to another plan that has the same billing term and payment option. For more information, see </a:t>
            </a:r>
            <a:r>
              <a:rPr lang="en-US" b="1">
                <a:hlinkClick r:id="rId3"/>
              </a:rPr>
              <a:t>SaaS subscription lifecycle management</a:t>
            </a:r>
            <a:r>
              <a:rPr lang="en-US"/>
              <a:t>.</a:t>
            </a:r>
            <a:endParaRPr lang="en-US">
              <a:cs typeface="Calibri"/>
            </a:endParaRPr>
          </a:p>
          <a:p>
            <a:pPr marL="342900" lvl="1" indent="-342900">
              <a:buChar char="•"/>
            </a:pPr>
            <a:r>
              <a:rPr lang="en-US"/>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a:t>Proceed to the </a:t>
            </a:r>
            <a:r>
              <a:rPr lang="en-US" b="1"/>
              <a:t>Tags</a:t>
            </a:r>
            <a:r>
              <a:rPr lang="en-US"/>
              <a:t> tab. </a:t>
            </a:r>
            <a:r>
              <a:rPr lang="en-US" i="1"/>
              <a:t>Tags</a:t>
            </a:r>
            <a:r>
              <a:rPr lang="en-US"/>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a:t>Continue to </a:t>
            </a:r>
            <a:r>
              <a:rPr lang="en-US" b="1"/>
              <a:t>Review + Subscribe</a:t>
            </a:r>
            <a:r>
              <a:rPr lang="en-US"/>
              <a:t> to go through the offer and plan details.</a:t>
            </a:r>
          </a:p>
          <a:p>
            <a:pPr marL="285750" lvl="1" indent="-285750">
              <a:buFont typeface="Arial"/>
              <a:buChar char="•"/>
            </a:pPr>
            <a:r>
              <a:rPr lang="en-US"/>
              <a:t>Review the terms of use, amendments, and privacy policy of the publisher, and also Azure Marketplace.</a:t>
            </a:r>
          </a:p>
          <a:p>
            <a:pPr marL="285750" lvl="1" indent="-285750">
              <a:buFont typeface="Arial"/>
              <a:buChar char="•"/>
            </a:pPr>
            <a:r>
              <a:rPr lang="en-US"/>
              <a:t>You might be asked to add your contact details.</a:t>
            </a:r>
          </a:p>
          <a:p>
            <a:pPr marL="285750" lvl="1" indent="-285750">
              <a:buFont typeface="Arial"/>
              <a:buChar char="•"/>
            </a:pPr>
            <a:r>
              <a:rPr lang="en-US"/>
              <a:t>Review details for </a:t>
            </a:r>
            <a:r>
              <a:rPr lang="en-US" b="1"/>
              <a:t>Basics</a:t>
            </a:r>
            <a:r>
              <a:rPr lang="en-US"/>
              <a:t> and </a:t>
            </a:r>
            <a:r>
              <a:rPr lang="en-US" b="1"/>
              <a:t>Tags</a:t>
            </a:r>
            <a:r>
              <a:rPr lang="en-US"/>
              <a:t>.</a:t>
            </a:r>
          </a:p>
          <a:p>
            <a:pPr marL="285750" indent="-285750">
              <a:buFont typeface="Arial"/>
              <a:buChar char="•"/>
            </a:pPr>
            <a:r>
              <a:rPr lang="en-US"/>
              <a:t>Upon confirmation, select </a:t>
            </a:r>
            <a:r>
              <a:rPr lang="en-US" b="1"/>
              <a:t>Subscribe</a:t>
            </a:r>
            <a:r>
              <a:rPr lang="en-US"/>
              <a:t>.</a:t>
            </a:r>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0</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2</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p>
          <a:p>
            <a:r>
              <a:rPr lang="en-US">
                <a:hlinkClick r:id="rId4"/>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0</a:t>
            </a:fld>
            <a:endParaRPr lang="en-US"/>
          </a:p>
        </p:txBody>
      </p:sp>
    </p:spTree>
    <p:extLst>
      <p:ext uri="{BB962C8B-B14F-4D97-AF65-F5344CB8AC3E}">
        <p14:creationId xmlns:p14="http://schemas.microsoft.com/office/powerpoint/2010/main" val="33934268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1</a:t>
            </a:fld>
            <a:endParaRPr lang="en-US"/>
          </a:p>
        </p:txBody>
      </p:sp>
    </p:spTree>
    <p:extLst>
      <p:ext uri="{BB962C8B-B14F-4D97-AF65-F5344CB8AC3E}">
        <p14:creationId xmlns:p14="http://schemas.microsoft.com/office/powerpoint/2010/main" val="21013519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lead management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2</a:t>
            </a:fld>
            <a:endParaRPr lang="en-US"/>
          </a:p>
        </p:txBody>
      </p:sp>
    </p:spTree>
    <p:extLst>
      <p:ext uri="{BB962C8B-B14F-4D97-AF65-F5344CB8AC3E}">
        <p14:creationId xmlns:p14="http://schemas.microsoft.com/office/powerpoint/2010/main" val="8021702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5</a:t>
            </a:fld>
            <a:endParaRPr lang="en-US"/>
          </a:p>
        </p:txBody>
      </p:sp>
    </p:spTree>
    <p:extLst>
      <p:ext uri="{BB962C8B-B14F-4D97-AF65-F5344CB8AC3E}">
        <p14:creationId xmlns:p14="http://schemas.microsoft.com/office/powerpoint/2010/main" val="2714033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8</a:t>
            </a:fld>
            <a:endParaRPr lang="en-US"/>
          </a:p>
        </p:txBody>
      </p:sp>
    </p:spTree>
    <p:extLst>
      <p:ext uri="{BB962C8B-B14F-4D97-AF65-F5344CB8AC3E}">
        <p14:creationId xmlns:p14="http://schemas.microsoft.com/office/powerpoint/2010/main" val="2280077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reate and manage Private Azure Marketplace collections in the Azure portal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9</a:t>
            </a:fld>
            <a:endParaRPr lang="en-US"/>
          </a:p>
        </p:txBody>
      </p:sp>
    </p:spTree>
    <p:extLst>
      <p:ext uri="{BB962C8B-B14F-4D97-AF65-F5344CB8AC3E}">
        <p14:creationId xmlns:p14="http://schemas.microsoft.com/office/powerpoint/2010/main" val="1700656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11/13/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Commercial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AppSource vs. Azure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dirty="0"/>
              <a:t>Marketplace is specific to Azure</a:t>
            </a:r>
          </a:p>
          <a:p>
            <a:r>
              <a:rPr lang="en-US" dirty="0"/>
              <a:t>Microsoft AppSource is for:</a:t>
            </a:r>
          </a:p>
          <a:p>
            <a:pPr lvl="1"/>
            <a:r>
              <a:rPr lang="en-US" sz="2800" dirty="0"/>
              <a:t>Azure</a:t>
            </a:r>
          </a:p>
          <a:p>
            <a:pPr lvl="1"/>
            <a:r>
              <a:rPr lang="en-US" sz="2800" dirty="0"/>
              <a:t>M365</a:t>
            </a:r>
          </a:p>
          <a:p>
            <a:pPr lvl="1"/>
            <a:r>
              <a:rPr lang="en-US" sz="2800" dirty="0"/>
              <a:t>Microsoft Dynamics 365</a:t>
            </a:r>
          </a:p>
          <a:p>
            <a:pPr lvl="1"/>
            <a:r>
              <a:rPr lang="en-US" sz="2800" dirty="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dirty="0">
                <a:cs typeface="Segoe UI"/>
              </a:rPr>
              <a:t>Marketplace online store</a:t>
            </a:r>
            <a:endParaRPr lang="en-US" dirty="0"/>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a:cs typeface="Segoe UI"/>
              </a:rPr>
              <a:t>Apps</a:t>
            </a:r>
            <a:endParaRPr lang="en-US"/>
          </a:p>
          <a:p>
            <a:r>
              <a:rPr lang="en-US">
                <a:cs typeface="Segoe UI"/>
              </a:rPr>
              <a:t>Consulting Services</a:t>
            </a:r>
            <a:endParaRPr lang="en-US"/>
          </a:p>
          <a:p>
            <a:r>
              <a:rPr lang="en-US">
                <a:cs typeface="Segoe UI"/>
              </a:rPr>
              <a:t>Featured solutions</a:t>
            </a:r>
            <a:endParaRPr lang="en-US"/>
          </a:p>
          <a:p>
            <a:r>
              <a:rPr lang="en-US">
                <a:cs typeface="Segoe UI"/>
              </a:rPr>
              <a:t>Accessible through marketplace link:</a:t>
            </a:r>
            <a:endParaRPr lang="en-US"/>
          </a:p>
          <a:p>
            <a:pPr lvl="1"/>
            <a:r>
              <a:rPr lang="en-US">
                <a:ea typeface="+mn-lt"/>
                <a:cs typeface="+mn-lt"/>
                <a:hlinkClick r:id="rId2"/>
              </a:rPr>
              <a:t>https://azuremarketplace.microsoft.com/</a:t>
            </a:r>
            <a:endParaRPr lang="en-US">
              <a:ea typeface="+mn-lt"/>
              <a:cs typeface="+mn-lt"/>
            </a:endParaRPr>
          </a:p>
          <a:p>
            <a:r>
              <a:rPr lang="en-US">
                <a:cs typeface="Segoe UI"/>
              </a:rPr>
              <a:t>Accessible through Azure portal link:</a:t>
            </a:r>
          </a:p>
          <a:p>
            <a:pPr lvl="1"/>
            <a:r>
              <a:rPr lang="en-US">
                <a:cs typeface="Segoe UI"/>
                <a:hlinkClick r:id="rId3"/>
              </a:rPr>
              <a:t>https://portal.azure.com</a:t>
            </a:r>
            <a:endParaRPr lang="en-US">
              <a:cs typeface="Segoe UI"/>
            </a:endParaRPr>
          </a:p>
          <a:p>
            <a:r>
              <a:rPr lang="en-US">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dirty="0"/>
              <a:t>Exercise – Search for Free Apps on Windows O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500087682"/>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91714449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a:cs typeface="Segoe UI"/>
              </a:rPr>
              <a:t>Published offers receive different tiers of support based on the transaction type.</a:t>
            </a:r>
            <a:endParaRPr lang="en-US"/>
          </a:p>
          <a:p>
            <a:endParaRPr lang="en-US"/>
          </a:p>
          <a:p>
            <a:pPr lvl="1"/>
            <a:r>
              <a:rPr lang="en-US">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ing Options</a:t>
            </a:r>
            <a:endParaRPr lang="en-US" dirty="0"/>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1" y="1435100"/>
            <a:ext cx="4103710" cy="2843855"/>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4798737" y="1328356"/>
            <a:ext cx="7145502" cy="4019343"/>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In this workshop, you will participate in </a:t>
            </a:r>
            <a:r>
              <a:rPr lang="en-US" sz="1600" b="1">
                <a:solidFill>
                  <a:schemeClr val="accent1"/>
                </a:solidFill>
                <a:ea typeface="Times New Roman" panose="02020603050405020304" pitchFamily="18" charset="0"/>
              </a:rPr>
              <a:t>lecture and group activities</a:t>
            </a: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 to accomplish the following items:</a:t>
            </a:r>
            <a:r>
              <a:rPr lang="en-US" sz="1600" b="1">
                <a:solidFill>
                  <a:schemeClr val="accent1"/>
                </a:solidFill>
                <a:ea typeface="Times New Roman" panose="02020603050405020304" pitchFamily="18" charset="0"/>
              </a:rPr>
              <a:t> </a:t>
            </a:r>
            <a:endPar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Commercial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Commercial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Commercial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Commercial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a:cs typeface="Arial"/>
              </a:rPr>
              <a:t>Managing purchases and setting up limits.</a:t>
            </a:r>
            <a:endParaRPr lang="en-US"/>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a:cs typeface="Segoe UI"/>
              </a:rPr>
              <a:t>Simplified procurement</a:t>
            </a:r>
          </a:p>
          <a:p>
            <a:pPr lvl="1"/>
            <a:r>
              <a:rPr lang="en-US">
                <a:cs typeface="Segoe UI"/>
              </a:rPr>
              <a:t>Credit card</a:t>
            </a:r>
          </a:p>
          <a:p>
            <a:pPr lvl="1"/>
            <a:r>
              <a:rPr lang="en-US">
                <a:cs typeface="Segoe UI"/>
              </a:rPr>
              <a:t>Microsoft account</a:t>
            </a:r>
          </a:p>
          <a:p>
            <a:r>
              <a:rPr lang="en-US">
                <a:cs typeface="Segoe UI"/>
              </a:rPr>
              <a:t>Permission to purchase</a:t>
            </a:r>
          </a:p>
          <a:p>
            <a:pPr lvl="1"/>
            <a:r>
              <a:rPr lang="en-US">
                <a:cs typeface="Segoe UI"/>
              </a:rPr>
              <a:t>RBAC permissions</a:t>
            </a:r>
          </a:p>
          <a:p>
            <a:pPr lvl="1"/>
            <a:r>
              <a:rPr lang="en-US">
                <a:cs typeface="Segoe UI"/>
              </a:rPr>
              <a:t>Subscription owner or contributor</a:t>
            </a:r>
          </a:p>
          <a:p>
            <a:pPr marL="0" indent="0">
              <a:buNone/>
            </a:pPr>
            <a:endParaRPr lang="en-US"/>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a:cs typeface="Segoe UI"/>
              </a:rPr>
              <a:t>Purchase policy management</a:t>
            </a:r>
          </a:p>
          <a:p>
            <a:pPr lvl="1">
              <a:lnSpc>
                <a:spcPct val="90000"/>
              </a:lnSpc>
            </a:pPr>
            <a:r>
              <a:rPr lang="en-US" sz="2400"/>
              <a:t>Azure subscription administrator manages</a:t>
            </a:r>
            <a:endParaRPr lang="en-US" sz="2400">
              <a:cs typeface="Segoe UI"/>
            </a:endParaRPr>
          </a:p>
          <a:p>
            <a:pPr lvl="1">
              <a:lnSpc>
                <a:spcPct val="90000"/>
              </a:lnSpc>
            </a:pPr>
            <a:r>
              <a:rPr lang="en-US" sz="2400"/>
              <a:t>Billing profiles</a:t>
            </a:r>
            <a:endParaRPr lang="en-US" sz="2400">
              <a:cs typeface="Segoe UI"/>
            </a:endParaRPr>
          </a:p>
          <a:p>
            <a:pPr lvl="1">
              <a:lnSpc>
                <a:spcPct val="90000"/>
              </a:lnSpc>
            </a:pPr>
            <a:r>
              <a:rPr lang="en-US" sz="2400"/>
              <a:t>Policies manage user purchases</a:t>
            </a:r>
            <a:endParaRPr lang="en-US" sz="2400">
              <a:cs typeface="Segoe UI"/>
            </a:endParaRPr>
          </a:p>
          <a:p>
            <a:pPr lvl="2">
              <a:lnSpc>
                <a:spcPct val="90000"/>
              </a:lnSpc>
            </a:pPr>
            <a:r>
              <a:rPr lang="en-US" sz="2400"/>
              <a:t>Azure Reservations</a:t>
            </a:r>
            <a:endParaRPr lang="en-US" sz="2400">
              <a:cs typeface="Segoe UI"/>
            </a:endParaRPr>
          </a:p>
          <a:p>
            <a:pPr lvl="2">
              <a:lnSpc>
                <a:spcPct val="90000"/>
              </a:lnSpc>
            </a:pPr>
            <a:r>
              <a:rPr lang="en-US" sz="2400"/>
              <a:t>Azure Marketplace</a:t>
            </a:r>
            <a:endParaRPr lang="en-US" sz="2400">
              <a:cs typeface="Segoe UI"/>
            </a:endParaRPr>
          </a:p>
          <a:p>
            <a:pPr marL="842645" lvl="3">
              <a:lnSpc>
                <a:spcPct val="90000"/>
              </a:lnSpc>
            </a:pPr>
            <a:r>
              <a:rPr lang="en-US" sz="2400"/>
              <a:t>Free + Paid</a:t>
            </a:r>
            <a:endParaRPr lang="en-US" sz="2400">
              <a:cs typeface="Segoe UI"/>
            </a:endParaRPr>
          </a:p>
          <a:p>
            <a:pPr marL="842645" lvl="3">
              <a:lnSpc>
                <a:spcPct val="90000"/>
              </a:lnSpc>
            </a:pPr>
            <a:r>
              <a:rPr lang="en-US" sz="2400"/>
              <a:t>Free</a:t>
            </a:r>
            <a:endParaRPr lang="en-US" sz="2400">
              <a:cs typeface="Segoe UI"/>
            </a:endParaRPr>
          </a:p>
          <a:p>
            <a:pPr marL="842645" lvl="3">
              <a:lnSpc>
                <a:spcPct val="90000"/>
              </a:lnSpc>
            </a:pPr>
            <a:r>
              <a:rPr lang="en-US" sz="2400"/>
              <a:t>No</a:t>
            </a:r>
            <a:endParaRPr lang="en-US" sz="2400">
              <a:cs typeface="Segoe UI"/>
            </a:endParaRPr>
          </a:p>
          <a:p>
            <a:pPr lvl="2">
              <a:lnSpc>
                <a:spcPct val="90000"/>
              </a:lnSpc>
            </a:pPr>
            <a:r>
              <a:rPr lang="en-US" sz="2400"/>
              <a:t>Labels</a:t>
            </a:r>
            <a:endParaRPr lang="en-US" sz="2400">
              <a:cs typeface="Segoe UI"/>
            </a:endParaRPr>
          </a:p>
          <a:p>
            <a:pPr lvl="1">
              <a:lnSpc>
                <a:spcPct val="90000"/>
              </a:lnSpc>
            </a:pPr>
            <a:endParaRPr lang="en-US"/>
          </a:p>
          <a:p>
            <a:pPr>
              <a:lnSpc>
                <a:spcPct val="90000"/>
              </a:lnSpc>
            </a:pPr>
            <a:endParaRPr lang="en-US" sz="200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Cost Management</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e Validation</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41945139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281713466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430887"/>
          </a:xfrm>
        </p:spPr>
        <p:txBody>
          <a:bodyPr vert="horz" wrap="square" lIns="0" tIns="0" rIns="0" bIns="0" rtlCol="0" anchor="t">
            <a:spAutoFit/>
          </a:bodyPr>
          <a:lstStyle/>
          <a:p>
            <a:r>
              <a:rPr lang="en-US" dirty="0">
                <a:cs typeface="Segoe UI"/>
              </a:rPr>
              <a:t>Walk through demo</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92444861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430887"/>
          </a:xfrm>
        </p:spPr>
        <p:txBody>
          <a:bodyPr vert="horz" wrap="square" lIns="0" tIns="0" rIns="0" bIns="0" rtlCol="0" anchor="t">
            <a:spAutoFit/>
          </a:bodyPr>
          <a:lstStyle/>
          <a:p>
            <a:r>
              <a:rPr lang="en-US" dirty="0">
                <a:cs typeface="Segoe UI"/>
              </a:rPr>
              <a:t>Walk through demo</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257390966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a:latin typeface="Segoe UI"/>
                <a:cs typeface="Segoe UI"/>
              </a:rPr>
              <a:t>Content with documented use cases and discussion topics</a:t>
            </a:r>
            <a:endParaRPr lang="en-US"/>
          </a:p>
          <a:p>
            <a:pPr marL="457200" indent="-457200">
              <a:buClr>
                <a:schemeClr val="accent1"/>
              </a:buClr>
              <a:buFont typeface="Wingdings" panose="05000000000000000000" pitchFamily="2" charset="2"/>
              <a:buChar char="ü"/>
            </a:pPr>
            <a:r>
              <a:rPr lang="en-US" sz="200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endParaRPr lang="en-US" sz="200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indent="-342900">
              <a:buClr>
                <a:srgbClr val="4472C4"/>
              </a:buClr>
              <a:buSzPct val="107000"/>
              <a:buFont typeface="Segoe UI" panose="020B0502040204020203" pitchFamily="34" charset="0"/>
              <a:buChar char="×"/>
            </a:pPr>
            <a:r>
              <a:rPr lang="en-US" sz="2000">
                <a:latin typeface="Segoe UI"/>
                <a:cs typeface="Segoe UI"/>
              </a:rPr>
              <a:t>Hands-on lab experience</a:t>
            </a:r>
          </a:p>
          <a:p>
            <a:pPr marL="407670" lvl="0" indent="-342900">
              <a:buClr>
                <a:srgbClr val="4472C4"/>
              </a:buClr>
              <a:buSzPct val="107000"/>
              <a:buFont typeface="Segoe UI" panose="020B0502040204020203" pitchFamily="34" charset="0"/>
              <a:buChar char="×"/>
            </a:pPr>
            <a:r>
              <a:rPr lang="en-US" sz="2000">
                <a:latin typeface="Segoe UI"/>
                <a:cs typeface="Segoe UI"/>
              </a:rPr>
              <a:t>Shared hands-on lab environment (aka </a:t>
            </a:r>
            <a:r>
              <a:rPr lang="en-US" sz="2000" err="1">
                <a:latin typeface="Segoe UI"/>
                <a:cs typeface="Segoe UI"/>
              </a:rPr>
              <a:t>OpenHack</a:t>
            </a:r>
            <a:r>
              <a:rPr lang="en-US" sz="200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a:latin typeface="Segoe UI"/>
                <a:cs typeface="Segoe UI"/>
              </a:rPr>
              <a:t>Lecture without interaction</a:t>
            </a:r>
            <a:endParaRPr lang="en-US" sz="200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94392"/>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97648600"/>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the Marketplace.</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58DB51-7D0F-F03B-7A4F-5721D8CDBA64}"/>
              </a:ext>
            </a:extLst>
          </p:cNvPr>
          <p:cNvSpPr>
            <a:spLocks noGrp="1"/>
          </p:cNvSpPr>
          <p:nvPr>
            <p:ph type="body" sz="quarter" idx="11"/>
          </p:nvPr>
        </p:nvSpPr>
        <p:spPr/>
        <p:txBody>
          <a:bodyPr/>
          <a:lstStyle/>
          <a:p>
            <a:r>
              <a:rPr lang="en-US" dirty="0">
                <a:solidFill>
                  <a:srgbClr val="FFFFFF"/>
                </a:solidFill>
                <a:cs typeface="Segoe UI"/>
              </a:rPr>
              <a:t>10 Minute Break</a:t>
            </a:r>
            <a:endParaRPr lang="en-US" dirty="0">
              <a:solidFill>
                <a:srgbClr val="FFFFFF"/>
              </a:solidFill>
            </a:endParaRPr>
          </a:p>
        </p:txBody>
      </p:sp>
      <p:sp>
        <p:nvSpPr>
          <p:cNvPr id="4" name="Text Placeholder 3">
            <a:extLst>
              <a:ext uri="{FF2B5EF4-FFF2-40B4-BE49-F238E27FC236}">
                <a16:creationId xmlns:a16="http://schemas.microsoft.com/office/drawing/2014/main" id="{CDA8EC64-B53D-6044-1646-DDC518D794AC}"/>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028104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Marketplace procurement application integration and governance</a:t>
            </a:r>
            <a:endParaRPr lang="en-US" altLang="zh-CN" dirty="0">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dirty="0"/>
              <a:t>In this module, you’ll begin by learning how to connect procurement applications to Marketplace.  You will also create a privat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bg1"/>
                </a:solidFill>
              </a:rPr>
              <a:t>After completing this module, you’ll be able to:</a:t>
            </a:r>
            <a:endParaRPr lang="en-US" sz="1600" b="1">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onnect </a:t>
            </a:r>
            <a:r>
              <a:rPr lang="en-US" sz="1400" dirty="0" err="1"/>
              <a:t>Entra</a:t>
            </a:r>
            <a:r>
              <a:rPr lang="en-US" sz="1400" dirty="0"/>
              <a:t> ID for SSO to Marketplace with Procurement Systems.</a:t>
            </a:r>
            <a:endParaRPr lang="en-US" dirty="0">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Using </a:t>
            </a:r>
            <a:r>
              <a:rPr lang="en-US" sz="1400" dirty="0" err="1"/>
              <a:t>Entra</a:t>
            </a:r>
            <a:r>
              <a:rPr lang="en-US" sz="1400" dirty="0"/>
              <a:t> ID for authentication and authorization to Marketplace through Procurement Systems.</a:t>
            </a:r>
            <a:endParaRPr lang="en-US" dirty="0">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dirty="0">
                <a:cs typeface="Segoe UI"/>
              </a:rPr>
              <a:t>Setting up a privat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a:t>Create purchasing permissions and resource limits</a:t>
            </a:r>
            <a:r>
              <a:rPr kumimoji="0" lang="en-US" sz="1400" b="0" i="0" u="none" strike="noStrike" kern="1200" cap="none" spc="0" normalizeH="0" baseline="0" noProof="0">
                <a:ln>
                  <a:noFill/>
                </a:ln>
                <a:effectLst/>
                <a:uLnTx/>
                <a:uFillTx/>
                <a:ea typeface="+mn-ea"/>
                <a:cs typeface="+mn-cs"/>
              </a:rPr>
              <a:t>.</a:t>
            </a:r>
            <a:endParaRPr lang="en-US" sz="140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2032340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7B8E-14FF-3C2D-BE0E-F25E0D4B4DB3}"/>
              </a:ext>
            </a:extLst>
          </p:cNvPr>
          <p:cNvSpPr>
            <a:spLocks noGrp="1"/>
          </p:cNvSpPr>
          <p:nvPr>
            <p:ph type="title"/>
          </p:nvPr>
        </p:nvSpPr>
        <p:spPr>
          <a:xfrm>
            <a:off x="588263" y="457200"/>
            <a:ext cx="11018520" cy="553998"/>
          </a:xfrm>
        </p:spPr>
        <p:txBody>
          <a:bodyPr wrap="square" anchor="t">
            <a:normAutofit/>
          </a:bodyPr>
          <a:lstStyle/>
          <a:p>
            <a:r>
              <a:rPr lang="en-US"/>
              <a:t>Procurement and Azure Marketplace</a:t>
            </a:r>
          </a:p>
        </p:txBody>
      </p:sp>
      <p:sp>
        <p:nvSpPr>
          <p:cNvPr id="3" name="Content Placeholder 2">
            <a:extLst>
              <a:ext uri="{FF2B5EF4-FFF2-40B4-BE49-F238E27FC236}">
                <a16:creationId xmlns:a16="http://schemas.microsoft.com/office/drawing/2014/main" id="{C9D88242-39E7-FD9D-8E94-B07DD53805B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a:t>What you need to know:</a:t>
            </a:r>
          </a:p>
          <a:p>
            <a:pPr lvl="1">
              <a:lnSpc>
                <a:spcPct val="90000"/>
              </a:lnSpc>
            </a:pPr>
            <a:r>
              <a:rPr lang="en-US" sz="2800"/>
              <a:t>Billing accounts and subscriptions</a:t>
            </a:r>
          </a:p>
          <a:p>
            <a:pPr lvl="1">
              <a:lnSpc>
                <a:spcPct val="90000"/>
              </a:lnSpc>
            </a:pPr>
            <a:r>
              <a:rPr lang="en-US" sz="2800"/>
              <a:t>Must be subscription owner or contributor to purchase</a:t>
            </a:r>
          </a:p>
          <a:p>
            <a:pPr lvl="1">
              <a:lnSpc>
                <a:spcPct val="90000"/>
              </a:lnSpc>
            </a:pPr>
            <a:r>
              <a:rPr lang="en-US" sz="2800"/>
              <a:t>Azure subscriptions is consumption-based</a:t>
            </a:r>
          </a:p>
          <a:p>
            <a:pPr lvl="1">
              <a:lnSpc>
                <a:spcPct val="90000"/>
              </a:lnSpc>
            </a:pPr>
            <a:r>
              <a:rPr lang="en-US" sz="2800"/>
              <a:t>SaaS subscription is time-based</a:t>
            </a:r>
          </a:p>
          <a:p>
            <a:pPr lvl="1">
              <a:lnSpc>
                <a:spcPct val="90000"/>
              </a:lnSpc>
            </a:pPr>
            <a:r>
              <a:rPr lang="en-US" sz="2800"/>
              <a:t>Billing account ID is needed for private offer agreements</a:t>
            </a:r>
          </a:p>
        </p:txBody>
      </p:sp>
      <p:sp>
        <p:nvSpPr>
          <p:cNvPr id="8" name="Content Placeholder 3">
            <a:extLst>
              <a:ext uri="{FF2B5EF4-FFF2-40B4-BE49-F238E27FC236}">
                <a16:creationId xmlns:a16="http://schemas.microsoft.com/office/drawing/2014/main" id="{0BEC7ADA-45E0-D0DE-3260-36E676ED3447}"/>
              </a:ext>
            </a:extLst>
          </p:cNvPr>
          <p:cNvSpPr>
            <a:spLocks noGrp="1"/>
          </p:cNvSpPr>
          <p:nvPr>
            <p:ph sz="quarter" idx="13"/>
          </p:nvPr>
        </p:nvSpPr>
        <p:spPr>
          <a:xfrm>
            <a:off x="6389688" y="1435100"/>
            <a:ext cx="5219700" cy="4833938"/>
          </a:xfrm>
        </p:spPr>
        <p:txBody>
          <a:bodyPr/>
          <a:lstStyle/>
          <a:p>
            <a:endParaRPr lang="en-US"/>
          </a:p>
        </p:txBody>
      </p:sp>
    </p:spTree>
    <p:extLst>
      <p:ext uri="{BB962C8B-B14F-4D97-AF65-F5344CB8AC3E}">
        <p14:creationId xmlns:p14="http://schemas.microsoft.com/office/powerpoint/2010/main" val="283952436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571B-B150-1C46-5F05-A09D93B7AE7A}"/>
              </a:ext>
            </a:extLst>
          </p:cNvPr>
          <p:cNvSpPr>
            <a:spLocks noGrp="1"/>
          </p:cNvSpPr>
          <p:nvPr>
            <p:ph type="title"/>
          </p:nvPr>
        </p:nvSpPr>
        <p:spPr>
          <a:xfrm>
            <a:off x="588263" y="457200"/>
            <a:ext cx="11018520" cy="553998"/>
          </a:xfrm>
        </p:spPr>
        <p:txBody>
          <a:bodyPr wrap="square" anchor="t">
            <a:normAutofit/>
          </a:bodyPr>
          <a:lstStyle/>
          <a:p>
            <a:r>
              <a:rPr lang="en-US"/>
              <a:t>Account Settings</a:t>
            </a:r>
          </a:p>
        </p:txBody>
      </p:sp>
      <p:graphicFrame>
        <p:nvGraphicFramePr>
          <p:cNvPr id="5" name="Content Placeholder 2">
            <a:extLst>
              <a:ext uri="{FF2B5EF4-FFF2-40B4-BE49-F238E27FC236}">
                <a16:creationId xmlns:a16="http://schemas.microsoft.com/office/drawing/2014/main" id="{02521839-71E7-D3DB-2A79-15E7270E214C}"/>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2601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1946829349"/>
              </p:ext>
            </p:extLst>
          </p:nvPr>
        </p:nvGraphicFramePr>
        <p:xfrm>
          <a:off x="4027715" y="143005"/>
          <a:ext cx="8097611" cy="3913632"/>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4-Hour Worksho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1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Commercial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buNone/>
                      </a:pPr>
                      <a:r>
                        <a:rPr lang="en-US" sz="1600" b="1">
                          <a:solidFill>
                            <a:schemeClr val="tx1"/>
                          </a:solidFill>
                        </a:rPr>
                        <a:t>10: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0: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Break</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1:0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Integrating Marketplace with Procurement Systems</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1: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Setting up a Privat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lvl="0" algn="l">
                        <a:buNone/>
                      </a:pPr>
                      <a:r>
                        <a:rPr lang="en-US" sz="1600" b="1">
                          <a:solidFill>
                            <a:schemeClr val="tx1"/>
                          </a:solidFill>
                        </a:rPr>
                        <a:t>12:50</a:t>
                      </a:r>
                    </a:p>
                  </a:txBody>
                  <a:tcPr marR="45720" marT="73152" marB="73152" anchor="ctr">
                    <a:lnL w="0">
                      <a:noFill/>
                    </a:lnL>
                    <a:lnR w="0">
                      <a:noFill/>
                    </a:lnR>
                    <a:lnT w="3175" cap="flat" cmpd="sng" algn="ctr">
                      <a:solidFill>
                        <a:schemeClr val="bg1">
                          <a:lumMod val="75000"/>
                        </a:schemeClr>
                      </a:solidFill>
                      <a:prstDash val="solid"/>
                      <a:round/>
                      <a:headEnd type="none" w="med" len="med"/>
                      <a:tailEnd type="none" w="med" len="med"/>
                    </a:lnT>
                    <a:lnB w="0">
                      <a:noFill/>
                    </a:lnB>
                    <a:lnTlToBr w="0">
                      <a:noFill/>
                    </a:lnTlToBr>
                    <a:lnBlToTr w="0">
                      <a:noFill/>
                    </a:lnBlToTr>
                  </a:tcPr>
                </a:tc>
                <a:tc>
                  <a:txBody>
                    <a:bodyPr/>
                    <a:lstStyle/>
                    <a:p>
                      <a:pPr lvl="0" algn="l">
                        <a:buNone/>
                      </a:pPr>
                      <a:r>
                        <a:rPr lang="en-US" sz="1600">
                          <a:solidFill>
                            <a:schemeClr val="tx1"/>
                          </a:solidFill>
                        </a:rPr>
                        <a:t>10 minutes</a:t>
                      </a:r>
                    </a:p>
                  </a:txBody>
                  <a:tcPr marR="45720" marT="73152" marB="73152" anchor="ctr">
                    <a:lnL w="0">
                      <a:noFill/>
                    </a:lnL>
                    <a:lnR w="0">
                      <a:noFill/>
                    </a:lnR>
                    <a:lnT w="3175" cap="flat" cmpd="sng" algn="ctr">
                      <a:solidFill>
                        <a:schemeClr val="bg1">
                          <a:lumMod val="75000"/>
                        </a:schemeClr>
                      </a:solidFill>
                      <a:prstDash val="solid"/>
                      <a:round/>
                      <a:headEnd type="none" w="med" len="med"/>
                      <a:tailEnd type="none" w="med" len="med"/>
                    </a:lnT>
                    <a:lnB w="0">
                      <a:noFill/>
                    </a:lnB>
                    <a:lnTlToBr w="0">
                      <a:noFill/>
                    </a:lnTlToBr>
                    <a:lnBlToTr w="0">
                      <a:noFill/>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a:t>
                      </a:r>
                    </a:p>
                  </a:txBody>
                  <a:tcPr marR="45720" marT="73152" marB="73152" anchor="ctr">
                    <a:lnL w="0">
                      <a:noFill/>
                    </a:lnL>
                    <a:lnR w="0">
                      <a:noFill/>
                    </a:lnR>
                    <a:lnT w="3175" cap="flat" cmpd="sng" algn="ctr">
                      <a:solidFill>
                        <a:schemeClr val="tx2"/>
                      </a:solidFill>
                      <a:prstDash val="lgDash"/>
                      <a:round/>
                      <a:headEnd type="none" w="med" len="med"/>
                      <a:tailEnd type="none" w="med" len="med"/>
                    </a:lnT>
                    <a:lnB w="0">
                      <a:noFill/>
                    </a:lnB>
                    <a:lnTlToBr w="0">
                      <a:noFill/>
                    </a:lnTlToBr>
                    <a:lnBlToTr w="0">
                      <a:noFill/>
                    </a:lnBlToTr>
                  </a:tcPr>
                </a:tc>
                <a:extLst>
                  <a:ext uri="{0D108BD9-81ED-4DB2-BD59-A6C34878D82A}">
                    <a16:rowId xmlns:a16="http://schemas.microsoft.com/office/drawing/2014/main" val="2797775683"/>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4469C-FA2E-89F4-8275-78C7809263F1}"/>
              </a:ext>
            </a:extLst>
          </p:cNvPr>
          <p:cNvSpPr>
            <a:spLocks noGrp="1"/>
          </p:cNvSpPr>
          <p:nvPr>
            <p:ph type="title"/>
          </p:nvPr>
        </p:nvSpPr>
        <p:spPr>
          <a:xfrm>
            <a:off x="588263" y="457200"/>
            <a:ext cx="11018520" cy="553998"/>
          </a:xfrm>
        </p:spPr>
        <p:txBody>
          <a:bodyPr wrap="square" anchor="t">
            <a:normAutofit/>
          </a:bodyPr>
          <a:lstStyle/>
          <a:p>
            <a:r>
              <a:rPr lang="en-US"/>
              <a:t>Account settings demo</a:t>
            </a:r>
          </a:p>
        </p:txBody>
      </p:sp>
      <p:graphicFrame>
        <p:nvGraphicFramePr>
          <p:cNvPr id="6" name="Content Placeholder 2">
            <a:extLst>
              <a:ext uri="{FF2B5EF4-FFF2-40B4-BE49-F238E27FC236}">
                <a16:creationId xmlns:a16="http://schemas.microsoft.com/office/drawing/2014/main" id="{8F951D51-311C-2EFC-35E8-15B871457F00}"/>
              </a:ext>
            </a:extLst>
          </p:cNvPr>
          <p:cNvGraphicFramePr>
            <a:graphicFrameLocks noGrp="1"/>
          </p:cNvGraphicFramePr>
          <p:nvPr>
            <p:ph sz="quarter" idx="10"/>
            <p:extLst>
              <p:ext uri="{D42A27DB-BD31-4B8C-83A1-F6EECF244321}">
                <p14:modId xmlns:p14="http://schemas.microsoft.com/office/powerpoint/2010/main" val="379139991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96941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44AF7-A23F-1DD9-6E3C-EE7368917D77}"/>
              </a:ext>
            </a:extLst>
          </p:cNvPr>
          <p:cNvSpPr>
            <a:spLocks noGrp="1"/>
          </p:cNvSpPr>
          <p:nvPr>
            <p:ph type="title"/>
          </p:nvPr>
        </p:nvSpPr>
        <p:spPr>
          <a:xfrm>
            <a:off x="588263" y="457200"/>
            <a:ext cx="11018520" cy="553998"/>
          </a:xfrm>
        </p:spPr>
        <p:txBody>
          <a:bodyPr wrap="square" anchor="t">
            <a:normAutofit/>
          </a:bodyPr>
          <a:lstStyle/>
          <a:p>
            <a:r>
              <a:rPr lang="en-US"/>
              <a:t>User Consent to Applications</a:t>
            </a:r>
          </a:p>
        </p:txBody>
      </p:sp>
      <p:pic>
        <p:nvPicPr>
          <p:cNvPr id="4" name="Picture 3" descr="A screenshot of a computer&#10;&#10;Description automatically generated">
            <a:extLst>
              <a:ext uri="{FF2B5EF4-FFF2-40B4-BE49-F238E27FC236}">
                <a16:creationId xmlns:a16="http://schemas.microsoft.com/office/drawing/2014/main" id="{D26C38C8-22B0-0868-2D0E-669BDC2059B1}"/>
              </a:ext>
            </a:extLst>
          </p:cNvPr>
          <p:cNvPicPr>
            <a:picLocks noChangeAspect="1"/>
          </p:cNvPicPr>
          <p:nvPr/>
        </p:nvPicPr>
        <p:blipFill>
          <a:blip r:embed="rId3"/>
          <a:stretch>
            <a:fillRect/>
          </a:stretch>
        </p:blipFill>
        <p:spPr>
          <a:xfrm>
            <a:off x="584200" y="2966069"/>
            <a:ext cx="5211763" cy="1771999"/>
          </a:xfrm>
          <a:prstGeom prst="rect">
            <a:avLst/>
          </a:prstGeom>
          <a:noFill/>
        </p:spPr>
      </p:pic>
      <p:sp>
        <p:nvSpPr>
          <p:cNvPr id="3" name="Content Placeholder 2">
            <a:extLst>
              <a:ext uri="{FF2B5EF4-FFF2-40B4-BE49-F238E27FC236}">
                <a16:creationId xmlns:a16="http://schemas.microsoft.com/office/drawing/2014/main" id="{2E50BA7C-3255-BC69-812B-892217F5D36D}"/>
              </a:ext>
            </a:extLst>
          </p:cNvPr>
          <p:cNvSpPr>
            <a:spLocks noGrp="1"/>
          </p:cNvSpPr>
          <p:nvPr>
            <p:ph sz="quarter" idx="13"/>
          </p:nvPr>
        </p:nvSpPr>
        <p:spPr>
          <a:xfrm>
            <a:off x="6389688" y="1435100"/>
            <a:ext cx="5219700" cy="5170652"/>
          </a:xfrm>
        </p:spPr>
        <p:txBody>
          <a:bodyPr vert="horz" wrap="square" lIns="0" tIns="0" rIns="0" bIns="0" rtlCol="0">
            <a:normAutofit/>
          </a:bodyPr>
          <a:lstStyle/>
          <a:p>
            <a:pPr>
              <a:lnSpc>
                <a:spcPct val="90000"/>
              </a:lnSpc>
            </a:pPr>
            <a:r>
              <a:rPr lang="en-US" sz="1500"/>
              <a:t>Users need to grant permission for apps to access data</a:t>
            </a:r>
          </a:p>
          <a:p>
            <a:pPr>
              <a:lnSpc>
                <a:spcPct val="90000"/>
              </a:lnSpc>
            </a:pPr>
            <a:r>
              <a:rPr lang="en-US" sz="1500"/>
              <a:t>Settings can allow or deny users from granting these permissions</a:t>
            </a:r>
          </a:p>
          <a:p>
            <a:pPr>
              <a:lnSpc>
                <a:spcPct val="90000"/>
              </a:lnSpc>
            </a:pPr>
            <a:r>
              <a:rPr lang="en-US" sz="1500"/>
              <a:t>Configure user consent settings within </a:t>
            </a:r>
            <a:r>
              <a:rPr lang="en-US" sz="1500" err="1"/>
              <a:t>Entra</a:t>
            </a:r>
            <a:r>
              <a:rPr lang="en-US" sz="1500"/>
              <a:t> admin center</a:t>
            </a:r>
          </a:p>
          <a:p>
            <a:pPr>
              <a:lnSpc>
                <a:spcPct val="90000"/>
              </a:lnSpc>
            </a:pPr>
            <a:r>
              <a:rPr lang="en-US" sz="1500"/>
              <a:t>Prerequisites:</a:t>
            </a:r>
          </a:p>
          <a:p>
            <a:pPr lvl="1">
              <a:lnSpc>
                <a:spcPct val="90000"/>
              </a:lnSpc>
            </a:pPr>
            <a:r>
              <a:rPr lang="en-US" sz="1500"/>
              <a:t>User account</a:t>
            </a:r>
          </a:p>
          <a:p>
            <a:pPr lvl="1">
              <a:lnSpc>
                <a:spcPct val="90000"/>
              </a:lnSpc>
            </a:pPr>
            <a:r>
              <a:rPr lang="en-US" sz="1500"/>
              <a:t>Global Administrator role for configuration</a:t>
            </a:r>
          </a:p>
          <a:p>
            <a:pPr>
              <a:lnSpc>
                <a:spcPct val="90000"/>
              </a:lnSpc>
              <a:spcBef>
                <a:spcPts val="20"/>
              </a:spcBef>
            </a:pPr>
            <a:r>
              <a:rPr lang="en-US" sz="1500"/>
              <a:t>To configure user consent settings through the Microsoft </a:t>
            </a:r>
            <a:r>
              <a:rPr lang="en-US" sz="1500" err="1"/>
              <a:t>Entra</a:t>
            </a:r>
            <a:r>
              <a:rPr lang="en-US" sz="1500"/>
              <a:t> admin center:</a:t>
            </a:r>
          </a:p>
          <a:p>
            <a:pPr marL="685800" lvl="1" indent="-457200">
              <a:lnSpc>
                <a:spcPct val="90000"/>
              </a:lnSpc>
              <a:spcBef>
                <a:spcPts val="20"/>
              </a:spcBef>
              <a:buAutoNum type="arabicPeriod"/>
            </a:pPr>
            <a:r>
              <a:rPr lang="en-US" sz="1500"/>
              <a:t>Sign in to the Microsoft </a:t>
            </a:r>
            <a:r>
              <a:rPr lang="en-US" sz="1500" err="1"/>
              <a:t>Entra</a:t>
            </a:r>
            <a:r>
              <a:rPr lang="en-US" sz="1500"/>
              <a:t> admin center as </a:t>
            </a:r>
            <a:r>
              <a:rPr lang="en-US" sz="1500" err="1"/>
              <a:t>as</a:t>
            </a:r>
            <a:r>
              <a:rPr lang="en-US" sz="1500"/>
              <a:t> a Global Administrator.</a:t>
            </a:r>
          </a:p>
          <a:p>
            <a:pPr marL="685800" lvl="1" indent="-457200">
              <a:lnSpc>
                <a:spcPct val="90000"/>
              </a:lnSpc>
              <a:spcBef>
                <a:spcPts val="20"/>
              </a:spcBef>
              <a:buAutoNum type="arabicPeriod"/>
            </a:pPr>
            <a:r>
              <a:rPr lang="en-US" sz="1500"/>
              <a:t>Browse to Identity &gt; Applications &gt; Enterprise applications &gt; Consent and permissions &gt; User consent settings.</a:t>
            </a:r>
          </a:p>
          <a:p>
            <a:pPr marL="685800" lvl="1" indent="-457200">
              <a:lnSpc>
                <a:spcPct val="90000"/>
              </a:lnSpc>
              <a:spcBef>
                <a:spcPts val="20"/>
              </a:spcBef>
              <a:buAutoNum type="arabicPeriod"/>
            </a:pPr>
            <a:r>
              <a:rPr lang="en-US" sz="1500"/>
              <a:t>Under User consent for </a:t>
            </a:r>
            <a:r>
              <a:rPr lang="en-US" sz="1800"/>
              <a:t>applications</a:t>
            </a:r>
            <a:r>
              <a:rPr lang="en-US" sz="1500"/>
              <a:t>, select which consent setting you want to configure for all users.</a:t>
            </a:r>
          </a:p>
          <a:p>
            <a:pPr marL="685800" lvl="1" indent="-457200">
              <a:lnSpc>
                <a:spcPct val="90000"/>
              </a:lnSpc>
              <a:spcBef>
                <a:spcPts val="20"/>
              </a:spcBef>
              <a:buAutoNum type="arabicPeriod"/>
            </a:pPr>
            <a:r>
              <a:rPr lang="en-US" sz="1500"/>
              <a:t>Select Save to save your settings.</a:t>
            </a:r>
          </a:p>
          <a:p>
            <a:pPr marL="685800" lvl="1" indent="-457200">
              <a:lnSpc>
                <a:spcPct val="90000"/>
              </a:lnSpc>
              <a:buAutoNum type="arabicPeriod"/>
            </a:pPr>
            <a:endParaRPr lang="en-US" sz="1500"/>
          </a:p>
        </p:txBody>
      </p:sp>
    </p:spTree>
    <p:extLst>
      <p:ext uri="{BB962C8B-B14F-4D97-AF65-F5344CB8AC3E}">
        <p14:creationId xmlns:p14="http://schemas.microsoft.com/office/powerpoint/2010/main" val="84820354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3600" spc="-50">
                <a:ln w="3175">
                  <a:noFill/>
                </a:ln>
                <a:latin typeface="+mj-lt"/>
                <a:cs typeface="Segoe UI"/>
              </a:rPr>
              <a:t>Commercial marketplace lead management</a:t>
            </a: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a:t>Connecting your Customer Relationship Management (CRM) system to get customer leads from your commercial marketplace offer</a:t>
            </a:r>
          </a:p>
          <a:p>
            <a:pPr>
              <a:lnSpc>
                <a:spcPct val="90000"/>
              </a:lnSpc>
            </a:pPr>
            <a:r>
              <a:rPr lang="en-US" sz="2200"/>
              <a:t>Offering a free trial or test drive of your offer so customers can test your solution</a:t>
            </a:r>
          </a:p>
          <a:p>
            <a:pPr>
              <a:lnSpc>
                <a:spcPct val="90000"/>
              </a:lnSpc>
            </a:pPr>
            <a:r>
              <a:rPr lang="en-US" sz="2200"/>
              <a:t>Integrating your software with Azure Active Directory for streamlined purchasing, fulfillment, and management of your solution for customers</a:t>
            </a:r>
          </a:p>
          <a:p>
            <a:pPr>
              <a:lnSpc>
                <a:spcPct val="90000"/>
              </a:lnSpc>
            </a:pPr>
            <a:r>
              <a:rPr lang="en-US" sz="220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57255656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40B-8499-E0C5-C508-35266E13B6E6}"/>
              </a:ext>
            </a:extLst>
          </p:cNvPr>
          <p:cNvSpPr>
            <a:spLocks noGrp="1"/>
          </p:cNvSpPr>
          <p:nvPr>
            <p:ph type="title"/>
          </p:nvPr>
        </p:nvSpPr>
        <p:spPr>
          <a:xfrm>
            <a:off x="588263" y="457200"/>
            <a:ext cx="11018520" cy="553998"/>
          </a:xfrm>
        </p:spPr>
        <p:txBody>
          <a:bodyPr wrap="square" anchor="t">
            <a:normAutofit/>
          </a:bodyPr>
          <a:lstStyle/>
          <a:p>
            <a:r>
              <a:rPr lang="en-US"/>
              <a:t>Procurement Solutions and Marketplace</a:t>
            </a:r>
          </a:p>
        </p:txBody>
      </p:sp>
      <p:graphicFrame>
        <p:nvGraphicFramePr>
          <p:cNvPr id="5" name="Content Placeholder 2">
            <a:extLst>
              <a:ext uri="{FF2B5EF4-FFF2-40B4-BE49-F238E27FC236}">
                <a16:creationId xmlns:a16="http://schemas.microsoft.com/office/drawing/2014/main" id="{A5BBB90B-5CC9-A280-14DC-2C91D4F347EE}"/>
              </a:ext>
            </a:extLst>
          </p:cNvPr>
          <p:cNvGraphicFramePr>
            <a:graphicFrameLocks noGrp="1"/>
          </p:cNvGraphicFramePr>
          <p:nvPr>
            <p:ph sz="quarter" idx="10"/>
            <p:extLst>
              <p:ext uri="{D42A27DB-BD31-4B8C-83A1-F6EECF244321}">
                <p14:modId xmlns:p14="http://schemas.microsoft.com/office/powerpoint/2010/main" val="3497735570"/>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152107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F413-FA4A-5DAC-66E1-E02E10AE53D2}"/>
              </a:ext>
            </a:extLst>
          </p:cNvPr>
          <p:cNvSpPr>
            <a:spLocks noGrp="1"/>
          </p:cNvSpPr>
          <p:nvPr>
            <p:ph type="title"/>
          </p:nvPr>
        </p:nvSpPr>
        <p:spPr/>
        <p:txBody>
          <a:bodyPr/>
          <a:lstStyle/>
          <a:p>
            <a:r>
              <a:rPr lang="en-US">
                <a:cs typeface="Segoe UI"/>
              </a:rPr>
              <a:t>Governance and Procurement management</a:t>
            </a:r>
            <a:endParaRPr lang="en-US"/>
          </a:p>
        </p:txBody>
      </p:sp>
    </p:spTree>
    <p:extLst>
      <p:ext uri="{BB962C8B-B14F-4D97-AF65-F5344CB8AC3E}">
        <p14:creationId xmlns:p14="http://schemas.microsoft.com/office/powerpoint/2010/main" val="2409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5E71-8482-5C4A-1937-62180CED69B1}"/>
              </a:ext>
            </a:extLst>
          </p:cNvPr>
          <p:cNvSpPr>
            <a:spLocks noGrp="1"/>
          </p:cNvSpPr>
          <p:nvPr>
            <p:ph type="title"/>
          </p:nvPr>
        </p:nvSpPr>
        <p:spPr>
          <a:xfrm>
            <a:off x="588263" y="457200"/>
            <a:ext cx="11018520" cy="553998"/>
          </a:xfrm>
        </p:spPr>
        <p:txBody>
          <a:bodyPr wrap="square" anchor="t">
            <a:normAutofit/>
          </a:bodyPr>
          <a:lstStyle/>
          <a:p>
            <a:r>
              <a:rPr lang="en-US" dirty="0"/>
              <a:t>Governance and control of solutions</a:t>
            </a:r>
          </a:p>
        </p:txBody>
      </p:sp>
      <p:graphicFrame>
        <p:nvGraphicFramePr>
          <p:cNvPr id="7" name="Content Placeholder 2">
            <a:extLst>
              <a:ext uri="{FF2B5EF4-FFF2-40B4-BE49-F238E27FC236}">
                <a16:creationId xmlns:a16="http://schemas.microsoft.com/office/drawing/2014/main" id="{A219546F-E536-A279-B526-1AE693C0FEBC}"/>
              </a:ext>
            </a:extLst>
          </p:cNvPr>
          <p:cNvGraphicFramePr>
            <a:graphicFrameLocks noGrp="1"/>
          </p:cNvGraphicFramePr>
          <p:nvPr>
            <p:ph sz="quarter" idx="10"/>
            <p:extLst>
              <p:ext uri="{D42A27DB-BD31-4B8C-83A1-F6EECF244321}">
                <p14:modId xmlns:p14="http://schemas.microsoft.com/office/powerpoint/2010/main" val="148721613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0297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B6354-2028-24B8-66E1-0D45962243CA}"/>
              </a:ext>
            </a:extLst>
          </p:cNvPr>
          <p:cNvSpPr>
            <a:spLocks noGrp="1"/>
          </p:cNvSpPr>
          <p:nvPr>
            <p:ph type="title"/>
          </p:nvPr>
        </p:nvSpPr>
        <p:spPr>
          <a:xfrm>
            <a:off x="588263" y="457200"/>
            <a:ext cx="11018520" cy="553998"/>
          </a:xfrm>
        </p:spPr>
        <p:txBody>
          <a:bodyPr wrap="square" anchor="t">
            <a:normAutofit/>
          </a:bodyPr>
          <a:lstStyle/>
          <a:p>
            <a:r>
              <a:rPr lang="en-US"/>
              <a:t>Azure Private Marketplace</a:t>
            </a:r>
          </a:p>
        </p:txBody>
      </p:sp>
      <p:graphicFrame>
        <p:nvGraphicFramePr>
          <p:cNvPr id="11" name="Content Placeholder 2">
            <a:extLst>
              <a:ext uri="{FF2B5EF4-FFF2-40B4-BE49-F238E27FC236}">
                <a16:creationId xmlns:a16="http://schemas.microsoft.com/office/drawing/2014/main" id="{F05A35D9-D1C5-338E-A24B-63C76BB54E45}"/>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997197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733DD-1422-5649-B7EC-6C22F68294E7}"/>
              </a:ext>
            </a:extLst>
          </p:cNvPr>
          <p:cNvSpPr>
            <a:spLocks noGrp="1"/>
          </p:cNvSpPr>
          <p:nvPr>
            <p:ph type="title"/>
          </p:nvPr>
        </p:nvSpPr>
        <p:spPr>
          <a:xfrm>
            <a:off x="588263" y="457200"/>
            <a:ext cx="11018520" cy="553998"/>
          </a:xfrm>
        </p:spPr>
        <p:txBody>
          <a:bodyPr wrap="square" anchor="t">
            <a:normAutofit/>
          </a:bodyPr>
          <a:lstStyle/>
          <a:p>
            <a:r>
              <a:rPr lang="en-US"/>
              <a:t>Procurement Management</a:t>
            </a:r>
          </a:p>
        </p:txBody>
      </p:sp>
      <p:graphicFrame>
        <p:nvGraphicFramePr>
          <p:cNvPr id="5" name="Content Placeholder 2">
            <a:extLst>
              <a:ext uri="{FF2B5EF4-FFF2-40B4-BE49-F238E27FC236}">
                <a16:creationId xmlns:a16="http://schemas.microsoft.com/office/drawing/2014/main" id="{EAD11503-D133-32E7-E133-88CB07DFE0F3}"/>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673081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E3601-0348-0AC8-926D-2963A6EBDE54}"/>
              </a:ext>
            </a:extLst>
          </p:cNvPr>
          <p:cNvSpPr>
            <a:spLocks noGrp="1"/>
          </p:cNvSpPr>
          <p:nvPr>
            <p:ph type="title"/>
          </p:nvPr>
        </p:nvSpPr>
        <p:spPr>
          <a:xfrm>
            <a:off x="588263" y="457200"/>
            <a:ext cx="11018520" cy="553998"/>
          </a:xfrm>
        </p:spPr>
        <p:txBody>
          <a:bodyPr wrap="square" anchor="t">
            <a:normAutofit/>
          </a:bodyPr>
          <a:lstStyle/>
          <a:p>
            <a:r>
              <a:rPr lang="en-US"/>
              <a:t>Private Marketplace Workflow</a:t>
            </a:r>
          </a:p>
        </p:txBody>
      </p:sp>
      <p:sp>
        <p:nvSpPr>
          <p:cNvPr id="3" name="Content Placeholder 2">
            <a:extLst>
              <a:ext uri="{FF2B5EF4-FFF2-40B4-BE49-F238E27FC236}">
                <a16:creationId xmlns:a16="http://schemas.microsoft.com/office/drawing/2014/main" id="{226A9B3B-731B-E601-049B-025098728B19}"/>
              </a:ext>
            </a:extLst>
          </p:cNvPr>
          <p:cNvSpPr>
            <a:spLocks noGrp="1"/>
          </p:cNvSpPr>
          <p:nvPr>
            <p:ph type="body" sz="quarter" idx="10"/>
          </p:nvPr>
        </p:nvSpPr>
        <p:spPr>
          <a:xfrm>
            <a:off x="586390" y="1434370"/>
            <a:ext cx="11018837" cy="4051300"/>
          </a:xfrm>
        </p:spPr>
        <p:txBody>
          <a:bodyPr vert="horz" wrap="square" lIns="0" tIns="0" rIns="0" bIns="0" rtlCol="0">
            <a:normAutofit/>
          </a:bodyPr>
          <a:lstStyle/>
          <a:p>
            <a:r>
              <a:rPr lang="en-US" dirty="0"/>
              <a:t>Private Marketplace offers some control over individual purchase</a:t>
            </a:r>
          </a:p>
          <a:p>
            <a:pPr marL="685800" lvl="1" indent="-457200">
              <a:buFont typeface="Arial" panose="020B0604020202020204" pitchFamily="34" charset="0"/>
              <a:buChar char="•"/>
            </a:pPr>
            <a:r>
              <a:rPr lang="en-US" sz="2800" dirty="0"/>
              <a:t>Enables products to be available for purchase when needed</a:t>
            </a:r>
          </a:p>
          <a:p>
            <a:pPr marL="685800" lvl="1" indent="-457200">
              <a:buFont typeface="Arial" panose="020B0604020202020204" pitchFamily="34" charset="0"/>
              <a:buChar char="•"/>
            </a:pPr>
            <a:r>
              <a:rPr lang="en-US" sz="2800" dirty="0"/>
              <a:t>Procedural approvals allow products to be made available by marketplace administrator</a:t>
            </a:r>
          </a:p>
          <a:p>
            <a:endParaRPr lang="en-US" dirty="0"/>
          </a:p>
        </p:txBody>
      </p:sp>
    </p:spTree>
    <p:extLst>
      <p:ext uri="{BB962C8B-B14F-4D97-AF65-F5344CB8AC3E}">
        <p14:creationId xmlns:p14="http://schemas.microsoft.com/office/powerpoint/2010/main" val="167559956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4A8C-98C4-0EC5-C359-C3F08F09CCD2}"/>
              </a:ext>
            </a:extLst>
          </p:cNvPr>
          <p:cNvSpPr>
            <a:spLocks noGrp="1"/>
          </p:cNvSpPr>
          <p:nvPr>
            <p:ph type="title"/>
          </p:nvPr>
        </p:nvSpPr>
        <p:spPr/>
        <p:txBody>
          <a:bodyPr/>
          <a:lstStyle/>
          <a:p>
            <a:r>
              <a:rPr lang="en-US" dirty="0">
                <a:cs typeface="Segoe UI"/>
              </a:rPr>
              <a:t>Private Marketplace demo</a:t>
            </a:r>
            <a:endParaRPr lang="en-US" dirty="0"/>
          </a:p>
        </p:txBody>
      </p:sp>
      <p:sp>
        <p:nvSpPr>
          <p:cNvPr id="3" name="Content Placeholder 2">
            <a:extLst>
              <a:ext uri="{FF2B5EF4-FFF2-40B4-BE49-F238E27FC236}">
                <a16:creationId xmlns:a16="http://schemas.microsoft.com/office/drawing/2014/main" id="{8EBEE321-11FC-1E70-73C4-F9D3512763DC}"/>
              </a:ext>
            </a:extLst>
          </p:cNvPr>
          <p:cNvSpPr>
            <a:spLocks noGrp="1"/>
          </p:cNvSpPr>
          <p:nvPr>
            <p:ph sz="quarter" idx="10"/>
          </p:nvPr>
        </p:nvSpPr>
        <p:spPr>
          <a:xfrm>
            <a:off x="584200" y="1435100"/>
            <a:ext cx="11018838" cy="430887"/>
          </a:xfrm>
        </p:spPr>
        <p:txBody>
          <a:bodyPr/>
          <a:lstStyle/>
          <a:p>
            <a:r>
              <a:rPr lang="en-US" dirty="0"/>
              <a:t>Walk through exercise</a:t>
            </a:r>
          </a:p>
        </p:txBody>
      </p:sp>
      <p:sp>
        <p:nvSpPr>
          <p:cNvPr id="4" name="TextBox 3">
            <a:extLst>
              <a:ext uri="{FF2B5EF4-FFF2-40B4-BE49-F238E27FC236}">
                <a16:creationId xmlns:a16="http://schemas.microsoft.com/office/drawing/2014/main" id="{894C4432-C891-B2F2-36B5-DC9ABE788A25}"/>
              </a:ext>
            </a:extLst>
          </p:cNvPr>
          <p:cNvSpPr txBox="1"/>
          <p:nvPr/>
        </p:nvSpPr>
        <p:spPr>
          <a:xfrm>
            <a:off x="769716" y="3219691"/>
            <a:ext cx="7382718"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hlinkClick r:id="rId3"/>
              </a:rPr>
              <a:t>Create and manage Private Azure Marketplace collections in the Azure portal - Microsoft marketplace | Microsoft Learn</a:t>
            </a:r>
            <a:endParaRPr lang="en-US"/>
          </a:p>
        </p:txBody>
      </p:sp>
    </p:spTree>
    <p:extLst>
      <p:ext uri="{BB962C8B-B14F-4D97-AF65-F5344CB8AC3E}">
        <p14:creationId xmlns:p14="http://schemas.microsoft.com/office/powerpoint/2010/main" val="42116961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Microsoft Commercial Marketplace Overview and Purchasing </a:t>
            </a:r>
            <a:endParaRPr lang="en-US"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Explain how to Integrate Azure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nderstand the ways to Integrate of Entra ID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Set up a Private Azure Marketplace.</a:t>
              </a:r>
              <a:endParaRPr lang="en-US" sz="180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Create purchasing permissions and resource limits. </a:t>
              </a:r>
              <a:endParaRPr lang="en-US"/>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651488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D9F342-393A-4EEC-ACDC-769401575698}"/>
              </a:ext>
            </a:extLst>
          </p:cNvPr>
          <p:cNvSpPr>
            <a:spLocks noGrp="1"/>
          </p:cNvSpPr>
          <p:nvPr>
            <p:ph type="title"/>
          </p:nvPr>
        </p:nvSpPr>
        <p:spPr/>
        <p:txBody>
          <a:bodyPr/>
          <a:lstStyle/>
          <a:p>
            <a:r>
              <a:rPr lang="en-US"/>
              <a:t>Thank you!</a:t>
            </a:r>
          </a:p>
        </p:txBody>
      </p:sp>
      <p:sp>
        <p:nvSpPr>
          <p:cNvPr id="5" name="Text Placeholder 4">
            <a:extLst>
              <a:ext uri="{FF2B5EF4-FFF2-40B4-BE49-F238E27FC236}">
                <a16:creationId xmlns:a16="http://schemas.microsoft.com/office/drawing/2014/main" id="{023E8919-57F9-43F7-9C69-EDABB71D9508}"/>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9224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olution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Who uses Azure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DC1468-2D5A-4AF4-B6A1-FA3F00E879EA}">
  <ds:schemaRefs>
    <ds:schemaRef ds:uri="df7f103e-597c-493b-bc31-914106b908e0"/>
    <ds:schemaRef ds:uri="ec9ab3cf-5ffc-4e23-9951-e59f1d4d27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DCB3B52-9508-4A63-AFCC-05E7630C15CA}">
  <ds:schemaRefs>
    <ds:schemaRef ds:uri="df7f103e-597c-493b-bc31-914106b908e0"/>
    <ds:schemaRef ds:uri="ec9ab3cf-5ffc-4e23-9951-e59f1d4d2772"/>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8B55F93-F793-45E6-8EF9-B02CA25D11D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32</TotalTime>
  <Words>3981</Words>
  <Application>Microsoft Office PowerPoint</Application>
  <PresentationFormat>Widescreen</PresentationFormat>
  <Paragraphs>490</Paragraphs>
  <Slides>51</Slides>
  <Notes>30</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2" baseType="lpstr">
      <vt:lpstr>Arial</vt:lpstr>
      <vt:lpstr>Calibri</vt:lpstr>
      <vt:lpstr>Consolas</vt:lpstr>
      <vt:lpstr>Segoe UI</vt:lpstr>
      <vt:lpstr>Segoe UI </vt:lpstr>
      <vt:lpstr>Segoe UI Light</vt:lpstr>
      <vt:lpstr>Segoe UI Semibold</vt:lpstr>
      <vt:lpstr>Times New Roman</vt:lpstr>
      <vt:lpstr>Wingdings</vt:lpstr>
      <vt:lpstr>1_Black Template</vt:lpstr>
      <vt:lpstr>think-cell Slide</vt:lpstr>
      <vt:lpstr>Microsoft Commercial Marketplace</vt:lpstr>
      <vt:lpstr>Learning objectives</vt:lpstr>
      <vt:lpstr>What to expect</vt:lpstr>
      <vt:lpstr>PowerPoint Presentation</vt:lpstr>
      <vt:lpstr>PowerPoint Presentation</vt:lpstr>
      <vt:lpstr>Introduction</vt:lpstr>
      <vt:lpstr>Introduction to Marketplace (60 minutes)</vt:lpstr>
      <vt:lpstr>What is the Microsoft Marketplace?</vt:lpstr>
      <vt:lpstr>Who uses Azure Marketplace?</vt:lpstr>
      <vt:lpstr>AppSource vs. Azure Marketplace</vt:lpstr>
      <vt:lpstr>Marketplace online store</vt:lpstr>
      <vt:lpstr>Exercise – Search for Free Apps on Windows OS</vt:lpstr>
      <vt:lpstr>Exercise – Search for Paid Apps on Windows</vt:lpstr>
      <vt:lpstr>Exercise – Search for Free Consulting Services</vt:lpstr>
      <vt:lpstr>Exercise – Search for Paid Consulting Services</vt:lpstr>
      <vt:lpstr>Creating Offers and Purchasing in Marketplace</vt:lpstr>
      <vt:lpstr>How does purchasing work in Azure Marketplace?</vt:lpstr>
      <vt:lpstr>Marketplace Rewards</vt:lpstr>
      <vt:lpstr>Purchasing Options</vt:lpstr>
      <vt:lpstr>Drawing Customers to Your Listing</vt:lpstr>
      <vt:lpstr>Azure Marketplace Purchasing</vt:lpstr>
      <vt:lpstr>Purchase Policy Management</vt:lpstr>
      <vt:lpstr>Cost Management</vt:lpstr>
      <vt:lpstr>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Summary</vt:lpstr>
      <vt:lpstr>PowerPoint Presentation</vt:lpstr>
      <vt:lpstr>PowerPoint Presentation</vt:lpstr>
      <vt:lpstr>Introduction</vt:lpstr>
      <vt:lpstr>Procurement and Azure Marketplace</vt:lpstr>
      <vt:lpstr>Account Settings</vt:lpstr>
      <vt:lpstr>Account settings demo</vt:lpstr>
      <vt:lpstr>User Consent to Applications</vt:lpstr>
      <vt:lpstr>PowerPoint Presentation</vt:lpstr>
      <vt:lpstr>Procurement Solutions and Marketplace</vt:lpstr>
      <vt:lpstr>Governance and Procurement management</vt:lpstr>
      <vt:lpstr>Governance and control of solutions</vt:lpstr>
      <vt:lpstr>Azure Private Marketplace</vt:lpstr>
      <vt:lpstr>Procurement Management</vt:lpstr>
      <vt:lpstr>Private Marketplace Workflow</vt:lpstr>
      <vt:lpstr>Private Marketplace demo</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1</cp:revision>
  <dcterms:created xsi:type="dcterms:W3CDTF">2023-04-14T00:23:05Z</dcterms:created>
  <dcterms:modified xsi:type="dcterms:W3CDTF">2023-11-13T15:5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